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8" r:id="rId4"/>
    <p:sldMasterId id="2147484051" r:id="rId5"/>
  </p:sldMasterIdLst>
  <p:notesMasterIdLst>
    <p:notesMasterId r:id="rId95"/>
  </p:notesMasterIdLst>
  <p:handoutMasterIdLst>
    <p:handoutMasterId r:id="rId96"/>
  </p:handoutMasterIdLst>
  <p:sldIdLst>
    <p:sldId id="4412" r:id="rId6"/>
    <p:sldId id="4205" r:id="rId7"/>
    <p:sldId id="4414" r:id="rId8"/>
    <p:sldId id="4338" r:id="rId9"/>
    <p:sldId id="4442" r:id="rId10"/>
    <p:sldId id="4413" r:id="rId11"/>
    <p:sldId id="4279" r:id="rId12"/>
    <p:sldId id="4441" r:id="rId13"/>
    <p:sldId id="4415" r:id="rId14"/>
    <p:sldId id="4282" r:id="rId15"/>
    <p:sldId id="4416" r:id="rId16"/>
    <p:sldId id="4417" r:id="rId17"/>
    <p:sldId id="4419" r:id="rId18"/>
    <p:sldId id="4420" r:id="rId19"/>
    <p:sldId id="4360" r:id="rId20"/>
    <p:sldId id="4421" r:id="rId21"/>
    <p:sldId id="4433" r:id="rId22"/>
    <p:sldId id="4422" r:id="rId23"/>
    <p:sldId id="4367" r:id="rId24"/>
    <p:sldId id="4423" r:id="rId25"/>
    <p:sldId id="4434" r:id="rId26"/>
    <p:sldId id="4446" r:id="rId27"/>
    <p:sldId id="4444" r:id="rId28"/>
    <p:sldId id="4353" r:id="rId29"/>
    <p:sldId id="4352" r:id="rId30"/>
    <p:sldId id="4355" r:id="rId31"/>
    <p:sldId id="4424" r:id="rId32"/>
    <p:sldId id="4425" r:id="rId33"/>
    <p:sldId id="4298" r:id="rId34"/>
    <p:sldId id="4449" r:id="rId35"/>
    <p:sldId id="4301" r:id="rId36"/>
    <p:sldId id="4302" r:id="rId37"/>
    <p:sldId id="4341" r:id="rId38"/>
    <p:sldId id="4311" r:id="rId39"/>
    <p:sldId id="4313" r:id="rId40"/>
    <p:sldId id="4342" r:id="rId41"/>
    <p:sldId id="4343" r:id="rId42"/>
    <p:sldId id="4344" r:id="rId43"/>
    <p:sldId id="4448" r:id="rId44"/>
    <p:sldId id="4345" r:id="rId45"/>
    <p:sldId id="4346" r:id="rId46"/>
    <p:sldId id="4316" r:id="rId47"/>
    <p:sldId id="4395" r:id="rId48"/>
    <p:sldId id="4396" r:id="rId49"/>
    <p:sldId id="4318" r:id="rId50"/>
    <p:sldId id="4320" r:id="rId51"/>
    <p:sldId id="4321" r:id="rId52"/>
    <p:sldId id="4322" r:id="rId53"/>
    <p:sldId id="4323" r:id="rId54"/>
    <p:sldId id="4324" r:id="rId55"/>
    <p:sldId id="4325" r:id="rId56"/>
    <p:sldId id="4326" r:id="rId57"/>
    <p:sldId id="4328" r:id="rId58"/>
    <p:sldId id="4329" r:id="rId59"/>
    <p:sldId id="4331" r:id="rId60"/>
    <p:sldId id="4334" r:id="rId61"/>
    <p:sldId id="4336" r:id="rId62"/>
    <p:sldId id="4337" r:id="rId63"/>
    <p:sldId id="297" r:id="rId64"/>
    <p:sldId id="298" r:id="rId65"/>
    <p:sldId id="4347" r:id="rId66"/>
    <p:sldId id="4348" r:id="rId67"/>
    <p:sldId id="4309" r:id="rId68"/>
    <p:sldId id="4429" r:id="rId69"/>
    <p:sldId id="4430" r:id="rId70"/>
    <p:sldId id="4431" r:id="rId71"/>
    <p:sldId id="4432" r:id="rId72"/>
    <p:sldId id="4373" r:id="rId73"/>
    <p:sldId id="4361" r:id="rId74"/>
    <p:sldId id="4362" r:id="rId75"/>
    <p:sldId id="4304" r:id="rId76"/>
    <p:sldId id="4307" r:id="rId77"/>
    <p:sldId id="4308" r:id="rId78"/>
    <p:sldId id="4366" r:id="rId79"/>
    <p:sldId id="4306" r:id="rId80"/>
    <p:sldId id="4305" r:id="rId81"/>
    <p:sldId id="4378" r:id="rId82"/>
    <p:sldId id="4397" r:id="rId83"/>
    <p:sldId id="4445" r:id="rId84"/>
    <p:sldId id="4398" r:id="rId85"/>
    <p:sldId id="4399" r:id="rId86"/>
    <p:sldId id="4400" r:id="rId87"/>
    <p:sldId id="4402" r:id="rId88"/>
    <p:sldId id="4403" r:id="rId89"/>
    <p:sldId id="4439" r:id="rId90"/>
    <p:sldId id="4435" r:id="rId91"/>
    <p:sldId id="4437" r:id="rId92"/>
    <p:sldId id="4436" r:id="rId93"/>
    <p:sldId id="4438" r:id="rId94"/>
  </p:sldIdLst>
  <p:sldSz cx="24377650" cy="13716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765"/>
    <a:srgbClr val="FFFFFF"/>
    <a:srgbClr val="01436C"/>
    <a:srgbClr val="111111"/>
    <a:srgbClr val="F7F7F7"/>
    <a:srgbClr val="1818FF"/>
    <a:srgbClr val="001326"/>
    <a:srgbClr val="006892"/>
    <a:srgbClr val="000000"/>
    <a:srgbClr val="1113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1081E4-B21F-F094-2719-E712D8F0D1D7}" v="56" dt="2026-02-10T18:28:07.569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28" autoAdjust="0"/>
    <p:restoredTop sz="94660"/>
  </p:normalViewPr>
  <p:slideViewPr>
    <p:cSldViewPr snapToGrid="0">
      <p:cViewPr varScale="1">
        <p:scale>
          <a:sx n="33" d="100"/>
          <a:sy n="33" d="100"/>
        </p:scale>
        <p:origin x="73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notesMaster" Target="notesMasters/notesMaster1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theme" Target="theme/theme1.xml"/><Relationship Id="rId10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presProps" Target="pres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viewProps" Target="viewProps.xml"/><Relationship Id="rId3" Type="http://schemas.openxmlformats.org/officeDocument/2006/relationships/customXml" Target="../customXml/item3.xml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0.jpe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1.jpe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0.jpe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DBEB5F-E0DF-45E8-BEF1-6AFD24EF83D8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972F9CE-7966-4766-854F-090B382A8E5D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.</a:t>
          </a:r>
        </a:p>
      </dgm:t>
    </dgm:pt>
    <dgm:pt modelId="{18FB27FD-3081-4533-B083-BF3F8CF54CEA}" type="parTrans" cxnId="{370BCCC4-AD14-4498-9226-9763AAA1F658}">
      <dgm:prSet/>
      <dgm:spPr/>
      <dgm:t>
        <a:bodyPr/>
        <a:lstStyle/>
        <a:p>
          <a:endParaRPr lang="pt-BR"/>
        </a:p>
      </dgm:t>
    </dgm:pt>
    <dgm:pt modelId="{77F2F031-81DF-4F63-A939-83BAD1F8C5A4}" type="sibTrans" cxnId="{370BCCC4-AD14-4498-9226-9763AAA1F658}">
      <dgm:prSet/>
      <dgm:spPr>
        <a:solidFill>
          <a:schemeClr val="bg1"/>
        </a:solidFill>
      </dgm:spPr>
      <dgm:t>
        <a:bodyPr/>
        <a:lstStyle/>
        <a:p>
          <a:endParaRPr lang="pt-BR"/>
        </a:p>
      </dgm:t>
    </dgm:pt>
    <dgm:pt modelId="{0D6DE7F2-5115-4082-B7A7-A4FAE0793BFD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. </a:t>
          </a:r>
        </a:p>
      </dgm:t>
    </dgm:pt>
    <dgm:pt modelId="{79D8176E-25ED-4789-8C93-CA867D1892D5}" type="parTrans" cxnId="{B4673985-3E44-44CD-9B99-ABACD5904C35}">
      <dgm:prSet/>
      <dgm:spPr/>
      <dgm:t>
        <a:bodyPr/>
        <a:lstStyle/>
        <a:p>
          <a:endParaRPr lang="pt-BR"/>
        </a:p>
      </dgm:t>
    </dgm:pt>
    <dgm:pt modelId="{B8875BF9-0BE3-445D-985D-CF23E028918A}" type="sibTrans" cxnId="{B4673985-3E44-44CD-9B99-ABACD5904C35}">
      <dgm:prSet/>
      <dgm:spPr>
        <a:solidFill>
          <a:schemeClr val="bg1"/>
        </a:solidFill>
      </dgm:spPr>
      <dgm:t>
        <a:bodyPr/>
        <a:lstStyle/>
        <a:p>
          <a:endParaRPr lang="pt-BR"/>
        </a:p>
      </dgm:t>
    </dgm:pt>
    <dgm:pt modelId="{F160FC76-6F88-4553-83D3-859DA2E94021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3- Fontes de ignição e seu controle.</a:t>
          </a:r>
        </a:p>
      </dgm:t>
    </dgm:pt>
    <dgm:pt modelId="{5823C07D-A7EA-49BC-963C-A25E02A2A4ED}" type="parTrans" cxnId="{6C416E94-FF10-46F3-AC15-4A4A55071A32}">
      <dgm:prSet/>
      <dgm:spPr/>
      <dgm:t>
        <a:bodyPr/>
        <a:lstStyle/>
        <a:p>
          <a:endParaRPr lang="pt-BR"/>
        </a:p>
      </dgm:t>
    </dgm:pt>
    <dgm:pt modelId="{9B4F24B5-9FA2-475B-9088-D8FFA785B255}" type="sibTrans" cxnId="{6C416E94-FF10-46F3-AC15-4A4A55071A32}">
      <dgm:prSet/>
      <dgm:spPr>
        <a:solidFill>
          <a:schemeClr val="bg1"/>
        </a:solidFill>
      </dgm:spPr>
      <dgm:t>
        <a:bodyPr/>
        <a:lstStyle/>
        <a:p>
          <a:endParaRPr lang="pt-BR"/>
        </a:p>
      </dgm:t>
    </dgm:pt>
    <dgm:pt modelId="{58FEFA86-8B2F-487F-852E-D0922ECD6059}">
      <dgm:prSet/>
      <dgm:spPr>
        <a:solidFill>
          <a:schemeClr val="bg1"/>
        </a:solidFill>
      </dgm:spPr>
      <dgm:t>
        <a:bodyPr/>
        <a:lstStyle/>
        <a:p>
          <a:r>
            <a:rPr lang="pt-BR">
              <a:solidFill>
                <a:srgbClr val="01436C"/>
              </a:solidFill>
              <a:latin typeface="Montserrat" pitchFamily="2" charset="0"/>
            </a:rPr>
            <a:t>4- Procedimentos básicos em situações de emergência com inflamáveis.</a:t>
          </a:r>
        </a:p>
      </dgm:t>
    </dgm:pt>
    <dgm:pt modelId="{983CACBE-30D3-414E-B915-B667C440D16B}" type="parTrans" cxnId="{F1CA9E0A-4D00-4808-9435-EB56D6DA22F9}">
      <dgm:prSet/>
      <dgm:spPr/>
      <dgm:t>
        <a:bodyPr/>
        <a:lstStyle/>
        <a:p>
          <a:endParaRPr lang="pt-BR"/>
        </a:p>
      </dgm:t>
    </dgm:pt>
    <dgm:pt modelId="{50710006-1753-4311-B3B9-63A5F164A73E}" type="sibTrans" cxnId="{F1CA9E0A-4D00-4808-9435-EB56D6DA22F9}">
      <dgm:prSet/>
      <dgm:spPr/>
      <dgm:t>
        <a:bodyPr/>
        <a:lstStyle/>
        <a:p>
          <a:endParaRPr lang="pt-BR"/>
        </a:p>
      </dgm:t>
    </dgm:pt>
    <dgm:pt modelId="{AFAFEFB5-6B5B-4E54-A8AF-4DA5029BC255}" type="pres">
      <dgm:prSet presAssocID="{DADBEB5F-E0DF-45E8-BEF1-6AFD24EF83D8}" presName="Name0" presStyleCnt="0">
        <dgm:presLayoutVars>
          <dgm:dir/>
          <dgm:resizeHandles val="exact"/>
        </dgm:presLayoutVars>
      </dgm:prSet>
      <dgm:spPr/>
    </dgm:pt>
    <dgm:pt modelId="{957C8141-E908-42A1-895A-B69DE2CC0CD7}" type="pres">
      <dgm:prSet presAssocID="{7972F9CE-7966-4766-854F-090B382A8E5D}" presName="node" presStyleLbl="node1" presStyleIdx="0" presStyleCnt="4">
        <dgm:presLayoutVars>
          <dgm:bulletEnabled val="1"/>
        </dgm:presLayoutVars>
      </dgm:prSet>
      <dgm:spPr/>
    </dgm:pt>
    <dgm:pt modelId="{F251333B-9EC7-4478-8913-85D477D4066C}" type="pres">
      <dgm:prSet presAssocID="{77F2F031-81DF-4F63-A939-83BAD1F8C5A4}" presName="sibTrans" presStyleLbl="sibTrans2D1" presStyleIdx="0" presStyleCnt="3"/>
      <dgm:spPr/>
    </dgm:pt>
    <dgm:pt modelId="{15109714-3BC6-4C27-ABE0-53B161CE3EA4}" type="pres">
      <dgm:prSet presAssocID="{77F2F031-81DF-4F63-A939-83BAD1F8C5A4}" presName="connectorText" presStyleLbl="sibTrans2D1" presStyleIdx="0" presStyleCnt="3"/>
      <dgm:spPr/>
    </dgm:pt>
    <dgm:pt modelId="{F28CD00C-A522-49AD-BE68-CAAEBBA823C4}" type="pres">
      <dgm:prSet presAssocID="{0D6DE7F2-5115-4082-B7A7-A4FAE0793BFD}" presName="node" presStyleLbl="node1" presStyleIdx="1" presStyleCnt="4">
        <dgm:presLayoutVars>
          <dgm:bulletEnabled val="1"/>
        </dgm:presLayoutVars>
      </dgm:prSet>
      <dgm:spPr/>
    </dgm:pt>
    <dgm:pt modelId="{7069FE8A-8D51-4659-A13C-F9E92BBB874D}" type="pres">
      <dgm:prSet presAssocID="{B8875BF9-0BE3-445D-985D-CF23E028918A}" presName="sibTrans" presStyleLbl="sibTrans2D1" presStyleIdx="1" presStyleCnt="3"/>
      <dgm:spPr/>
    </dgm:pt>
    <dgm:pt modelId="{4E630075-EB85-4A38-851C-56276DA20371}" type="pres">
      <dgm:prSet presAssocID="{B8875BF9-0BE3-445D-985D-CF23E028918A}" presName="connectorText" presStyleLbl="sibTrans2D1" presStyleIdx="1" presStyleCnt="3"/>
      <dgm:spPr/>
    </dgm:pt>
    <dgm:pt modelId="{7B1E4C8F-054A-4DD7-8241-84D8160FF8D7}" type="pres">
      <dgm:prSet presAssocID="{F160FC76-6F88-4553-83D3-859DA2E94021}" presName="node" presStyleLbl="node1" presStyleIdx="2" presStyleCnt="4">
        <dgm:presLayoutVars>
          <dgm:bulletEnabled val="1"/>
        </dgm:presLayoutVars>
      </dgm:prSet>
      <dgm:spPr/>
    </dgm:pt>
    <dgm:pt modelId="{1966DF13-00A8-4D0E-94C8-C14F1405069A}" type="pres">
      <dgm:prSet presAssocID="{9B4F24B5-9FA2-475B-9088-D8FFA785B255}" presName="sibTrans" presStyleLbl="sibTrans2D1" presStyleIdx="2" presStyleCnt="3"/>
      <dgm:spPr/>
    </dgm:pt>
    <dgm:pt modelId="{4A8076E3-D4FD-438B-89FB-B301AF82A36B}" type="pres">
      <dgm:prSet presAssocID="{9B4F24B5-9FA2-475B-9088-D8FFA785B255}" presName="connectorText" presStyleLbl="sibTrans2D1" presStyleIdx="2" presStyleCnt="3"/>
      <dgm:spPr/>
    </dgm:pt>
    <dgm:pt modelId="{8E157347-5509-434F-BF06-87D7507EE3EC}" type="pres">
      <dgm:prSet presAssocID="{58FEFA86-8B2F-487F-852E-D0922ECD6059}" presName="node" presStyleLbl="node1" presStyleIdx="3" presStyleCnt="4">
        <dgm:presLayoutVars>
          <dgm:bulletEnabled val="1"/>
        </dgm:presLayoutVars>
      </dgm:prSet>
      <dgm:spPr/>
    </dgm:pt>
  </dgm:ptLst>
  <dgm:cxnLst>
    <dgm:cxn modelId="{EB1E8705-F0CF-4367-9716-1E9EE5600923}" type="presOf" srcId="{77F2F031-81DF-4F63-A939-83BAD1F8C5A4}" destId="{15109714-3BC6-4C27-ABE0-53B161CE3EA4}" srcOrd="1" destOrd="0" presId="urn:microsoft.com/office/officeart/2005/8/layout/process1"/>
    <dgm:cxn modelId="{F1CA9E0A-4D00-4808-9435-EB56D6DA22F9}" srcId="{DADBEB5F-E0DF-45E8-BEF1-6AFD24EF83D8}" destId="{58FEFA86-8B2F-487F-852E-D0922ECD6059}" srcOrd="3" destOrd="0" parTransId="{983CACBE-30D3-414E-B915-B667C440D16B}" sibTransId="{50710006-1753-4311-B3B9-63A5F164A73E}"/>
    <dgm:cxn modelId="{4A82BD1F-9F1D-4C9C-97C8-E2A15EDAC371}" type="presOf" srcId="{DADBEB5F-E0DF-45E8-BEF1-6AFD24EF83D8}" destId="{AFAFEFB5-6B5B-4E54-A8AF-4DA5029BC255}" srcOrd="0" destOrd="0" presId="urn:microsoft.com/office/officeart/2005/8/layout/process1"/>
    <dgm:cxn modelId="{EEA1C423-8F4B-49F5-A86D-FC639113ED89}" type="presOf" srcId="{B8875BF9-0BE3-445D-985D-CF23E028918A}" destId="{4E630075-EB85-4A38-851C-56276DA20371}" srcOrd="1" destOrd="0" presId="urn:microsoft.com/office/officeart/2005/8/layout/process1"/>
    <dgm:cxn modelId="{A28DC629-3A7C-4F43-BB41-CD871A08F1C0}" type="presOf" srcId="{F160FC76-6F88-4553-83D3-859DA2E94021}" destId="{7B1E4C8F-054A-4DD7-8241-84D8160FF8D7}" srcOrd="0" destOrd="0" presId="urn:microsoft.com/office/officeart/2005/8/layout/process1"/>
    <dgm:cxn modelId="{8286C43A-55BE-4636-ACFD-541663EA28DF}" type="presOf" srcId="{77F2F031-81DF-4F63-A939-83BAD1F8C5A4}" destId="{F251333B-9EC7-4478-8913-85D477D4066C}" srcOrd="0" destOrd="0" presId="urn:microsoft.com/office/officeart/2005/8/layout/process1"/>
    <dgm:cxn modelId="{197B3F6F-571D-4BF9-B40A-EA284643058C}" type="presOf" srcId="{0D6DE7F2-5115-4082-B7A7-A4FAE0793BFD}" destId="{F28CD00C-A522-49AD-BE68-CAAEBBA823C4}" srcOrd="0" destOrd="0" presId="urn:microsoft.com/office/officeart/2005/8/layout/process1"/>
    <dgm:cxn modelId="{1D13B554-7A96-4E60-B3A4-EFA85EB5FE9F}" type="presOf" srcId="{9B4F24B5-9FA2-475B-9088-D8FFA785B255}" destId="{4A8076E3-D4FD-438B-89FB-B301AF82A36B}" srcOrd="1" destOrd="0" presId="urn:microsoft.com/office/officeart/2005/8/layout/process1"/>
    <dgm:cxn modelId="{7888787A-D28C-4400-B66D-6C1D30CF918B}" type="presOf" srcId="{9B4F24B5-9FA2-475B-9088-D8FFA785B255}" destId="{1966DF13-00A8-4D0E-94C8-C14F1405069A}" srcOrd="0" destOrd="0" presId="urn:microsoft.com/office/officeart/2005/8/layout/process1"/>
    <dgm:cxn modelId="{B4673985-3E44-44CD-9B99-ABACD5904C35}" srcId="{DADBEB5F-E0DF-45E8-BEF1-6AFD24EF83D8}" destId="{0D6DE7F2-5115-4082-B7A7-A4FAE0793BFD}" srcOrd="1" destOrd="0" parTransId="{79D8176E-25ED-4789-8C93-CA867D1892D5}" sibTransId="{B8875BF9-0BE3-445D-985D-CF23E028918A}"/>
    <dgm:cxn modelId="{5C29BD86-54ED-4AFC-9141-13800C976CFC}" type="presOf" srcId="{B8875BF9-0BE3-445D-985D-CF23E028918A}" destId="{7069FE8A-8D51-4659-A13C-F9E92BBB874D}" srcOrd="0" destOrd="0" presId="urn:microsoft.com/office/officeart/2005/8/layout/process1"/>
    <dgm:cxn modelId="{6C416E94-FF10-46F3-AC15-4A4A55071A32}" srcId="{DADBEB5F-E0DF-45E8-BEF1-6AFD24EF83D8}" destId="{F160FC76-6F88-4553-83D3-859DA2E94021}" srcOrd="2" destOrd="0" parTransId="{5823C07D-A7EA-49BC-963C-A25E02A2A4ED}" sibTransId="{9B4F24B5-9FA2-475B-9088-D8FFA785B255}"/>
    <dgm:cxn modelId="{370BCCC4-AD14-4498-9226-9763AAA1F658}" srcId="{DADBEB5F-E0DF-45E8-BEF1-6AFD24EF83D8}" destId="{7972F9CE-7966-4766-854F-090B382A8E5D}" srcOrd="0" destOrd="0" parTransId="{18FB27FD-3081-4533-B083-BF3F8CF54CEA}" sibTransId="{77F2F031-81DF-4F63-A939-83BAD1F8C5A4}"/>
    <dgm:cxn modelId="{E003C3CE-641B-4CDF-9BD7-92358C4E0E50}" type="presOf" srcId="{58FEFA86-8B2F-487F-852E-D0922ECD6059}" destId="{8E157347-5509-434F-BF06-87D7507EE3EC}" srcOrd="0" destOrd="0" presId="urn:microsoft.com/office/officeart/2005/8/layout/process1"/>
    <dgm:cxn modelId="{79B8B9DB-6A25-49B0-9422-EBDEE86F2438}" type="presOf" srcId="{7972F9CE-7966-4766-854F-090B382A8E5D}" destId="{957C8141-E908-42A1-895A-B69DE2CC0CD7}" srcOrd="0" destOrd="0" presId="urn:microsoft.com/office/officeart/2005/8/layout/process1"/>
    <dgm:cxn modelId="{CE384043-E248-4BFE-994A-E3F9DDFE27B4}" type="presParOf" srcId="{AFAFEFB5-6B5B-4E54-A8AF-4DA5029BC255}" destId="{957C8141-E908-42A1-895A-B69DE2CC0CD7}" srcOrd="0" destOrd="0" presId="urn:microsoft.com/office/officeart/2005/8/layout/process1"/>
    <dgm:cxn modelId="{8C0D0098-329C-465D-A89C-982FE5335020}" type="presParOf" srcId="{AFAFEFB5-6B5B-4E54-A8AF-4DA5029BC255}" destId="{F251333B-9EC7-4478-8913-85D477D4066C}" srcOrd="1" destOrd="0" presId="urn:microsoft.com/office/officeart/2005/8/layout/process1"/>
    <dgm:cxn modelId="{7A6C4FC6-1E80-4186-833A-FDE18F4810F8}" type="presParOf" srcId="{F251333B-9EC7-4478-8913-85D477D4066C}" destId="{15109714-3BC6-4C27-ABE0-53B161CE3EA4}" srcOrd="0" destOrd="0" presId="urn:microsoft.com/office/officeart/2005/8/layout/process1"/>
    <dgm:cxn modelId="{8448BC49-CAF2-4D26-93B2-5E850699149B}" type="presParOf" srcId="{AFAFEFB5-6B5B-4E54-A8AF-4DA5029BC255}" destId="{F28CD00C-A522-49AD-BE68-CAAEBBA823C4}" srcOrd="2" destOrd="0" presId="urn:microsoft.com/office/officeart/2005/8/layout/process1"/>
    <dgm:cxn modelId="{B63A91F2-2DEE-4615-800A-67D679787C6D}" type="presParOf" srcId="{AFAFEFB5-6B5B-4E54-A8AF-4DA5029BC255}" destId="{7069FE8A-8D51-4659-A13C-F9E92BBB874D}" srcOrd="3" destOrd="0" presId="urn:microsoft.com/office/officeart/2005/8/layout/process1"/>
    <dgm:cxn modelId="{65FCBAB3-BB41-42B8-9124-41F22FB0E00F}" type="presParOf" srcId="{7069FE8A-8D51-4659-A13C-F9E92BBB874D}" destId="{4E630075-EB85-4A38-851C-56276DA20371}" srcOrd="0" destOrd="0" presId="urn:microsoft.com/office/officeart/2005/8/layout/process1"/>
    <dgm:cxn modelId="{8B48DD98-4122-414C-881C-370F03DAB357}" type="presParOf" srcId="{AFAFEFB5-6B5B-4E54-A8AF-4DA5029BC255}" destId="{7B1E4C8F-054A-4DD7-8241-84D8160FF8D7}" srcOrd="4" destOrd="0" presId="urn:microsoft.com/office/officeart/2005/8/layout/process1"/>
    <dgm:cxn modelId="{AF970B20-1011-4D5F-A86E-C27117C12660}" type="presParOf" srcId="{AFAFEFB5-6B5B-4E54-A8AF-4DA5029BC255}" destId="{1966DF13-00A8-4D0E-94C8-C14F1405069A}" srcOrd="5" destOrd="0" presId="urn:microsoft.com/office/officeart/2005/8/layout/process1"/>
    <dgm:cxn modelId="{30062F85-FEDF-44A2-848E-4B92BC0DE83C}" type="presParOf" srcId="{1966DF13-00A8-4D0E-94C8-C14F1405069A}" destId="{4A8076E3-D4FD-438B-89FB-B301AF82A36B}" srcOrd="0" destOrd="0" presId="urn:microsoft.com/office/officeart/2005/8/layout/process1"/>
    <dgm:cxn modelId="{2761233A-F96C-4A71-9D24-33E603418F9D}" type="presParOf" srcId="{AFAFEFB5-6B5B-4E54-A8AF-4DA5029BC255}" destId="{8E157347-5509-434F-BF06-87D7507EE3EC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4F0A04-390F-43E7-ADCE-7119FC6AC49B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D9DD14F-1334-45F6-AC9D-ED6350C11720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; </a:t>
          </a:r>
        </a:p>
      </dgm:t>
    </dgm:pt>
    <dgm:pt modelId="{8CBFA1D1-36E5-4F2F-99D9-7C4A40745E41}" type="parTrans" cxnId="{943573F4-CA1B-4BF1-952C-8B75619227E3}">
      <dgm:prSet/>
      <dgm:spPr/>
      <dgm:t>
        <a:bodyPr/>
        <a:lstStyle/>
        <a:p>
          <a:endParaRPr lang="pt-BR"/>
        </a:p>
      </dgm:t>
    </dgm:pt>
    <dgm:pt modelId="{214A4A7C-0AAF-4A6E-B5E2-D081B9AD0CA4}" type="sibTrans" cxnId="{943573F4-CA1B-4BF1-952C-8B75619227E3}">
      <dgm:prSet/>
      <dgm:spPr/>
      <dgm:t>
        <a:bodyPr/>
        <a:lstStyle/>
        <a:p>
          <a:endParaRPr lang="pt-BR"/>
        </a:p>
      </dgm:t>
    </dgm:pt>
    <dgm:pt modelId="{8012A180-CDAB-4AAF-A77D-DE4EDE8F2302}">
      <dgm:prSet custT="1"/>
      <dgm:spPr>
        <a:solidFill>
          <a:schemeClr val="bg1"/>
        </a:solidFill>
      </dgm:spPr>
      <dgm:t>
        <a:bodyPr/>
        <a:lstStyle/>
        <a:p>
          <a:r>
            <a:rPr lang="pt-BR" sz="2000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; </a:t>
          </a:r>
        </a:p>
      </dgm:t>
    </dgm:pt>
    <dgm:pt modelId="{6414844F-74DC-4A11-A780-8E2BE605B863}" type="parTrans" cxnId="{611206E6-312C-4AD6-82B2-3DAA902315FC}">
      <dgm:prSet/>
      <dgm:spPr/>
      <dgm:t>
        <a:bodyPr/>
        <a:lstStyle/>
        <a:p>
          <a:endParaRPr lang="pt-BR"/>
        </a:p>
      </dgm:t>
    </dgm:pt>
    <dgm:pt modelId="{33066E89-E2B3-468E-8E17-8CE5E4266A75}" type="sibTrans" cxnId="{611206E6-312C-4AD6-82B2-3DAA902315FC}">
      <dgm:prSet/>
      <dgm:spPr/>
      <dgm:t>
        <a:bodyPr/>
        <a:lstStyle/>
        <a:p>
          <a:endParaRPr lang="pt-BR"/>
        </a:p>
      </dgm:t>
    </dgm:pt>
    <dgm:pt modelId="{1C875836-0605-4C65-9125-1A5BD358A985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3- Fontes de ignição e seu controle; </a:t>
          </a:r>
        </a:p>
      </dgm:t>
    </dgm:pt>
    <dgm:pt modelId="{14F497FB-D013-460D-BFB1-E76F976C04F1}" type="parTrans" cxnId="{C79439C8-CFFA-4BB1-AAE2-85AC80653C24}">
      <dgm:prSet/>
      <dgm:spPr/>
      <dgm:t>
        <a:bodyPr/>
        <a:lstStyle/>
        <a:p>
          <a:endParaRPr lang="pt-BR"/>
        </a:p>
      </dgm:t>
    </dgm:pt>
    <dgm:pt modelId="{A1D01F3D-6525-49EF-8F8E-3C975D9F5018}" type="sibTrans" cxnId="{C79439C8-CFFA-4BB1-AAE2-85AC80653C24}">
      <dgm:prSet/>
      <dgm:spPr/>
      <dgm:t>
        <a:bodyPr/>
        <a:lstStyle/>
        <a:p>
          <a:endParaRPr lang="pt-BR"/>
        </a:p>
      </dgm:t>
    </dgm:pt>
    <dgm:pt modelId="{74AF3C57-9129-4796-AC4C-88636284ADC4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4- Proteção contra incêndio com inflamáveis; </a:t>
          </a:r>
        </a:p>
      </dgm:t>
    </dgm:pt>
    <dgm:pt modelId="{0E4F6F74-0EE4-43DD-A3D2-51A6F7AF525A}" type="parTrans" cxnId="{F4FE7007-C5C4-4965-B287-55524E64C73C}">
      <dgm:prSet/>
      <dgm:spPr/>
      <dgm:t>
        <a:bodyPr/>
        <a:lstStyle/>
        <a:p>
          <a:endParaRPr lang="pt-BR"/>
        </a:p>
      </dgm:t>
    </dgm:pt>
    <dgm:pt modelId="{F124A225-755C-40B3-BA6B-C920EAA5DBBB}" type="sibTrans" cxnId="{F4FE7007-C5C4-4965-B287-55524E64C73C}">
      <dgm:prSet/>
      <dgm:spPr/>
      <dgm:t>
        <a:bodyPr/>
        <a:lstStyle/>
        <a:p>
          <a:endParaRPr lang="pt-BR"/>
        </a:p>
      </dgm:t>
    </dgm:pt>
    <dgm:pt modelId="{5D62E79A-D102-47FB-9DBA-AF8A85930D2C}">
      <dgm:prSet custT="1"/>
      <dgm:spPr>
        <a:solidFill>
          <a:schemeClr val="bg1"/>
        </a:solidFill>
      </dgm:spPr>
      <dgm:t>
        <a:bodyPr/>
        <a:lstStyle/>
        <a:p>
          <a:r>
            <a:rPr lang="pt-BR" sz="2200">
              <a:solidFill>
                <a:srgbClr val="01436C"/>
              </a:solidFill>
              <a:latin typeface="Montserrat" pitchFamily="2" charset="0"/>
            </a:rPr>
            <a:t>5- Procedimentos básicos em situações de emergência com inflamáveis</a:t>
          </a:r>
        </a:p>
      </dgm:t>
    </dgm:pt>
    <dgm:pt modelId="{1C189EF5-B011-4F6F-BA4A-836FC71B599B}" type="parTrans" cxnId="{58113FAB-4C25-4545-84AF-1C1B8E1A6322}">
      <dgm:prSet/>
      <dgm:spPr/>
      <dgm:t>
        <a:bodyPr/>
        <a:lstStyle/>
        <a:p>
          <a:endParaRPr lang="pt-BR"/>
        </a:p>
      </dgm:t>
    </dgm:pt>
    <dgm:pt modelId="{A1962420-6311-4844-B239-94688FF812D1}" type="sibTrans" cxnId="{58113FAB-4C25-4545-84AF-1C1B8E1A6322}">
      <dgm:prSet/>
      <dgm:spPr/>
      <dgm:t>
        <a:bodyPr/>
        <a:lstStyle/>
        <a:p>
          <a:endParaRPr lang="pt-BR"/>
        </a:p>
      </dgm:t>
    </dgm:pt>
    <dgm:pt modelId="{B0EFF3A6-BFD2-42D1-A36C-6F0CF970FC20}" type="pres">
      <dgm:prSet presAssocID="{514F0A04-390F-43E7-ADCE-7119FC6AC49B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78EE448-FAB2-4CB4-8CD4-A31E69FE611E}" type="pres">
      <dgm:prSet presAssocID="{8D9DD14F-1334-45F6-AC9D-ED6350C11720}" presName="root" presStyleCnt="0"/>
      <dgm:spPr/>
    </dgm:pt>
    <dgm:pt modelId="{19E60A14-6FE0-439B-A77D-27FBD3A4BC30}" type="pres">
      <dgm:prSet presAssocID="{8D9DD14F-1334-45F6-AC9D-ED6350C11720}" presName="rootComposite" presStyleCnt="0"/>
      <dgm:spPr/>
    </dgm:pt>
    <dgm:pt modelId="{B90022D3-1A71-4050-93EF-116212908F70}" type="pres">
      <dgm:prSet presAssocID="{8D9DD14F-1334-45F6-AC9D-ED6350C11720}" presName="rootText" presStyleLbl="node1" presStyleIdx="0" presStyleCnt="5" custLinFactNeighborX="4837" custLinFactNeighborY="-993"/>
      <dgm:spPr/>
    </dgm:pt>
    <dgm:pt modelId="{39C860CB-241B-4252-9320-F33924EC83FE}" type="pres">
      <dgm:prSet presAssocID="{8D9DD14F-1334-45F6-AC9D-ED6350C11720}" presName="rootConnector" presStyleLbl="node1" presStyleIdx="0" presStyleCnt="5"/>
      <dgm:spPr/>
    </dgm:pt>
    <dgm:pt modelId="{2F06BF66-5E58-4B29-9A51-45E19680D815}" type="pres">
      <dgm:prSet presAssocID="{8D9DD14F-1334-45F6-AC9D-ED6350C11720}" presName="childShape" presStyleCnt="0"/>
      <dgm:spPr/>
    </dgm:pt>
    <dgm:pt modelId="{948E3BF9-4AD2-4DB3-B82F-B3A74D7ABA54}" type="pres">
      <dgm:prSet presAssocID="{8012A180-CDAB-4AAF-A77D-DE4EDE8F2302}" presName="root" presStyleCnt="0"/>
      <dgm:spPr/>
    </dgm:pt>
    <dgm:pt modelId="{7B72E99B-BC1D-4D4C-8B87-1DF605CC6049}" type="pres">
      <dgm:prSet presAssocID="{8012A180-CDAB-4AAF-A77D-DE4EDE8F2302}" presName="rootComposite" presStyleCnt="0"/>
      <dgm:spPr/>
    </dgm:pt>
    <dgm:pt modelId="{760F3EC0-A8DF-4F6E-AAB4-D132EF8F3DDB}" type="pres">
      <dgm:prSet presAssocID="{8012A180-CDAB-4AAF-A77D-DE4EDE8F2302}" presName="rootText" presStyleLbl="node1" presStyleIdx="1" presStyleCnt="5"/>
      <dgm:spPr/>
    </dgm:pt>
    <dgm:pt modelId="{EC87454D-F00E-4981-BB5C-78585080D8DB}" type="pres">
      <dgm:prSet presAssocID="{8012A180-CDAB-4AAF-A77D-DE4EDE8F2302}" presName="rootConnector" presStyleLbl="node1" presStyleIdx="1" presStyleCnt="5"/>
      <dgm:spPr/>
    </dgm:pt>
    <dgm:pt modelId="{2A2AFC19-4B43-49C6-8A28-97DCC1FCD369}" type="pres">
      <dgm:prSet presAssocID="{8012A180-CDAB-4AAF-A77D-DE4EDE8F2302}" presName="childShape" presStyleCnt="0"/>
      <dgm:spPr/>
    </dgm:pt>
    <dgm:pt modelId="{A629A840-6193-421A-8993-98548642E8BD}" type="pres">
      <dgm:prSet presAssocID="{1C875836-0605-4C65-9125-1A5BD358A985}" presName="root" presStyleCnt="0"/>
      <dgm:spPr/>
    </dgm:pt>
    <dgm:pt modelId="{31439DD9-1A17-44B1-BDBF-9FA487BC37A8}" type="pres">
      <dgm:prSet presAssocID="{1C875836-0605-4C65-9125-1A5BD358A985}" presName="rootComposite" presStyleCnt="0"/>
      <dgm:spPr/>
    </dgm:pt>
    <dgm:pt modelId="{CD836E33-6325-4384-880E-9CF51353FC33}" type="pres">
      <dgm:prSet presAssocID="{1C875836-0605-4C65-9125-1A5BD358A985}" presName="rootText" presStyleLbl="node1" presStyleIdx="2" presStyleCnt="5"/>
      <dgm:spPr/>
    </dgm:pt>
    <dgm:pt modelId="{9D00783B-013B-440E-8989-B5D0A697BA76}" type="pres">
      <dgm:prSet presAssocID="{1C875836-0605-4C65-9125-1A5BD358A985}" presName="rootConnector" presStyleLbl="node1" presStyleIdx="2" presStyleCnt="5"/>
      <dgm:spPr/>
    </dgm:pt>
    <dgm:pt modelId="{654EA14D-7281-4DAC-84A1-292B39502057}" type="pres">
      <dgm:prSet presAssocID="{1C875836-0605-4C65-9125-1A5BD358A985}" presName="childShape" presStyleCnt="0"/>
      <dgm:spPr/>
    </dgm:pt>
    <dgm:pt modelId="{B68B613C-300A-4E5D-BC31-3589F10026EF}" type="pres">
      <dgm:prSet presAssocID="{74AF3C57-9129-4796-AC4C-88636284ADC4}" presName="root" presStyleCnt="0"/>
      <dgm:spPr/>
    </dgm:pt>
    <dgm:pt modelId="{D7446206-7482-4E75-B922-9D463B0F3A8B}" type="pres">
      <dgm:prSet presAssocID="{74AF3C57-9129-4796-AC4C-88636284ADC4}" presName="rootComposite" presStyleCnt="0"/>
      <dgm:spPr/>
    </dgm:pt>
    <dgm:pt modelId="{D4FC8D08-F1F0-4F9E-99D1-4FA4474A7196}" type="pres">
      <dgm:prSet presAssocID="{74AF3C57-9129-4796-AC4C-88636284ADC4}" presName="rootText" presStyleLbl="node1" presStyleIdx="3" presStyleCnt="5"/>
      <dgm:spPr/>
    </dgm:pt>
    <dgm:pt modelId="{E097DEB8-A8D3-488C-A03B-3A830EA8BC6F}" type="pres">
      <dgm:prSet presAssocID="{74AF3C57-9129-4796-AC4C-88636284ADC4}" presName="rootConnector" presStyleLbl="node1" presStyleIdx="3" presStyleCnt="5"/>
      <dgm:spPr/>
    </dgm:pt>
    <dgm:pt modelId="{FFBC7B45-B7BB-432C-BBC5-81ECF3E2EDE3}" type="pres">
      <dgm:prSet presAssocID="{74AF3C57-9129-4796-AC4C-88636284ADC4}" presName="childShape" presStyleCnt="0"/>
      <dgm:spPr/>
    </dgm:pt>
    <dgm:pt modelId="{59FC076A-7638-45E5-B5A4-2754D4231026}" type="pres">
      <dgm:prSet presAssocID="{5D62E79A-D102-47FB-9DBA-AF8A85930D2C}" presName="root" presStyleCnt="0"/>
      <dgm:spPr/>
    </dgm:pt>
    <dgm:pt modelId="{D9A7FB61-69A0-4A5B-9984-4081029B01F5}" type="pres">
      <dgm:prSet presAssocID="{5D62E79A-D102-47FB-9DBA-AF8A85930D2C}" presName="rootComposite" presStyleCnt="0"/>
      <dgm:spPr/>
    </dgm:pt>
    <dgm:pt modelId="{EC970439-E4C8-404E-AB88-2F86771B21E3}" type="pres">
      <dgm:prSet presAssocID="{5D62E79A-D102-47FB-9DBA-AF8A85930D2C}" presName="rootText" presStyleLbl="node1" presStyleIdx="4" presStyleCnt="5"/>
      <dgm:spPr/>
    </dgm:pt>
    <dgm:pt modelId="{1F7D4F22-B374-45C0-A64A-25FD5421BCA2}" type="pres">
      <dgm:prSet presAssocID="{5D62E79A-D102-47FB-9DBA-AF8A85930D2C}" presName="rootConnector" presStyleLbl="node1" presStyleIdx="4" presStyleCnt="5"/>
      <dgm:spPr/>
    </dgm:pt>
    <dgm:pt modelId="{F0EBAC1E-C0D6-449F-86A2-7A57C9B05030}" type="pres">
      <dgm:prSet presAssocID="{5D62E79A-D102-47FB-9DBA-AF8A85930D2C}" presName="childShape" presStyleCnt="0"/>
      <dgm:spPr/>
    </dgm:pt>
  </dgm:ptLst>
  <dgm:cxnLst>
    <dgm:cxn modelId="{F4FE7007-C5C4-4965-B287-55524E64C73C}" srcId="{514F0A04-390F-43E7-ADCE-7119FC6AC49B}" destId="{74AF3C57-9129-4796-AC4C-88636284ADC4}" srcOrd="3" destOrd="0" parTransId="{0E4F6F74-0EE4-43DD-A3D2-51A6F7AF525A}" sibTransId="{F124A225-755C-40B3-BA6B-C920EAA5DBBB}"/>
    <dgm:cxn modelId="{A3FC0B41-FED0-4D2C-801E-AE6FFFD93740}" type="presOf" srcId="{74AF3C57-9129-4796-AC4C-88636284ADC4}" destId="{D4FC8D08-F1F0-4F9E-99D1-4FA4474A7196}" srcOrd="0" destOrd="0" presId="urn:microsoft.com/office/officeart/2005/8/layout/hierarchy3"/>
    <dgm:cxn modelId="{D84D114D-C155-41FA-BE90-490BB9513F7C}" type="presOf" srcId="{1C875836-0605-4C65-9125-1A5BD358A985}" destId="{9D00783B-013B-440E-8989-B5D0A697BA76}" srcOrd="1" destOrd="0" presId="urn:microsoft.com/office/officeart/2005/8/layout/hierarchy3"/>
    <dgm:cxn modelId="{FD86D377-236A-425D-BFE5-E2D1CA82EDB1}" type="presOf" srcId="{8D9DD14F-1334-45F6-AC9D-ED6350C11720}" destId="{39C860CB-241B-4252-9320-F33924EC83FE}" srcOrd="1" destOrd="0" presId="urn:microsoft.com/office/officeart/2005/8/layout/hierarchy3"/>
    <dgm:cxn modelId="{DFA8BD81-4259-466C-A878-C9BB574530AF}" type="presOf" srcId="{8012A180-CDAB-4AAF-A77D-DE4EDE8F2302}" destId="{EC87454D-F00E-4981-BB5C-78585080D8DB}" srcOrd="1" destOrd="0" presId="urn:microsoft.com/office/officeart/2005/8/layout/hierarchy3"/>
    <dgm:cxn modelId="{E3C726A0-EB34-48B4-AB69-38A28408580F}" type="presOf" srcId="{8D9DD14F-1334-45F6-AC9D-ED6350C11720}" destId="{B90022D3-1A71-4050-93EF-116212908F70}" srcOrd="0" destOrd="0" presId="urn:microsoft.com/office/officeart/2005/8/layout/hierarchy3"/>
    <dgm:cxn modelId="{58113FAB-4C25-4545-84AF-1C1B8E1A6322}" srcId="{514F0A04-390F-43E7-ADCE-7119FC6AC49B}" destId="{5D62E79A-D102-47FB-9DBA-AF8A85930D2C}" srcOrd="4" destOrd="0" parTransId="{1C189EF5-B011-4F6F-BA4A-836FC71B599B}" sibTransId="{A1962420-6311-4844-B239-94688FF812D1}"/>
    <dgm:cxn modelId="{01577FBC-1E38-49DF-A5AE-342AFBBC346F}" type="presOf" srcId="{1C875836-0605-4C65-9125-1A5BD358A985}" destId="{CD836E33-6325-4384-880E-9CF51353FC33}" srcOrd="0" destOrd="0" presId="urn:microsoft.com/office/officeart/2005/8/layout/hierarchy3"/>
    <dgm:cxn modelId="{FB51E4C5-AE57-4189-831D-A3AD8AC76C10}" type="presOf" srcId="{5D62E79A-D102-47FB-9DBA-AF8A85930D2C}" destId="{1F7D4F22-B374-45C0-A64A-25FD5421BCA2}" srcOrd="1" destOrd="0" presId="urn:microsoft.com/office/officeart/2005/8/layout/hierarchy3"/>
    <dgm:cxn modelId="{619955C7-DFC4-459F-A024-F62016A02B8C}" type="presOf" srcId="{74AF3C57-9129-4796-AC4C-88636284ADC4}" destId="{E097DEB8-A8D3-488C-A03B-3A830EA8BC6F}" srcOrd="1" destOrd="0" presId="urn:microsoft.com/office/officeart/2005/8/layout/hierarchy3"/>
    <dgm:cxn modelId="{C79439C8-CFFA-4BB1-AAE2-85AC80653C24}" srcId="{514F0A04-390F-43E7-ADCE-7119FC6AC49B}" destId="{1C875836-0605-4C65-9125-1A5BD358A985}" srcOrd="2" destOrd="0" parTransId="{14F497FB-D013-460D-BFB1-E76F976C04F1}" sibTransId="{A1D01F3D-6525-49EF-8F8E-3C975D9F5018}"/>
    <dgm:cxn modelId="{0A0AF8CF-B7F5-4771-AA7B-5B7765C7A778}" type="presOf" srcId="{8012A180-CDAB-4AAF-A77D-DE4EDE8F2302}" destId="{760F3EC0-A8DF-4F6E-AAB4-D132EF8F3DDB}" srcOrd="0" destOrd="0" presId="urn:microsoft.com/office/officeart/2005/8/layout/hierarchy3"/>
    <dgm:cxn modelId="{611206E6-312C-4AD6-82B2-3DAA902315FC}" srcId="{514F0A04-390F-43E7-ADCE-7119FC6AC49B}" destId="{8012A180-CDAB-4AAF-A77D-DE4EDE8F2302}" srcOrd="1" destOrd="0" parTransId="{6414844F-74DC-4A11-A780-8E2BE605B863}" sibTransId="{33066E89-E2B3-468E-8E17-8CE5E4266A75}"/>
    <dgm:cxn modelId="{943573F4-CA1B-4BF1-952C-8B75619227E3}" srcId="{514F0A04-390F-43E7-ADCE-7119FC6AC49B}" destId="{8D9DD14F-1334-45F6-AC9D-ED6350C11720}" srcOrd="0" destOrd="0" parTransId="{8CBFA1D1-36E5-4F2F-99D9-7C4A40745E41}" sibTransId="{214A4A7C-0AAF-4A6E-B5E2-D081B9AD0CA4}"/>
    <dgm:cxn modelId="{7DC711F9-BA31-4D51-8D13-2AF41273BD15}" type="presOf" srcId="{5D62E79A-D102-47FB-9DBA-AF8A85930D2C}" destId="{EC970439-E4C8-404E-AB88-2F86771B21E3}" srcOrd="0" destOrd="0" presId="urn:microsoft.com/office/officeart/2005/8/layout/hierarchy3"/>
    <dgm:cxn modelId="{A68714FB-C609-4D3A-AF65-FE25D7258E75}" type="presOf" srcId="{514F0A04-390F-43E7-ADCE-7119FC6AC49B}" destId="{B0EFF3A6-BFD2-42D1-A36C-6F0CF970FC20}" srcOrd="0" destOrd="0" presId="urn:microsoft.com/office/officeart/2005/8/layout/hierarchy3"/>
    <dgm:cxn modelId="{BA6C6F05-AC12-4028-BDEA-693DBF2EAE6C}" type="presParOf" srcId="{B0EFF3A6-BFD2-42D1-A36C-6F0CF970FC20}" destId="{478EE448-FAB2-4CB4-8CD4-A31E69FE611E}" srcOrd="0" destOrd="0" presId="urn:microsoft.com/office/officeart/2005/8/layout/hierarchy3"/>
    <dgm:cxn modelId="{C6CC686E-73F1-49D1-AA4F-33EA09EC524E}" type="presParOf" srcId="{478EE448-FAB2-4CB4-8CD4-A31E69FE611E}" destId="{19E60A14-6FE0-439B-A77D-27FBD3A4BC30}" srcOrd="0" destOrd="0" presId="urn:microsoft.com/office/officeart/2005/8/layout/hierarchy3"/>
    <dgm:cxn modelId="{C709ABBF-81AD-43CB-A1FA-FBD6F1E0A755}" type="presParOf" srcId="{19E60A14-6FE0-439B-A77D-27FBD3A4BC30}" destId="{B90022D3-1A71-4050-93EF-116212908F70}" srcOrd="0" destOrd="0" presId="urn:microsoft.com/office/officeart/2005/8/layout/hierarchy3"/>
    <dgm:cxn modelId="{2DA5DAE1-2A19-4A15-B697-C3689A7AE339}" type="presParOf" srcId="{19E60A14-6FE0-439B-A77D-27FBD3A4BC30}" destId="{39C860CB-241B-4252-9320-F33924EC83FE}" srcOrd="1" destOrd="0" presId="urn:microsoft.com/office/officeart/2005/8/layout/hierarchy3"/>
    <dgm:cxn modelId="{B24CD39D-3829-4EFD-BFD2-E64421D4E8DC}" type="presParOf" srcId="{478EE448-FAB2-4CB4-8CD4-A31E69FE611E}" destId="{2F06BF66-5E58-4B29-9A51-45E19680D815}" srcOrd="1" destOrd="0" presId="urn:microsoft.com/office/officeart/2005/8/layout/hierarchy3"/>
    <dgm:cxn modelId="{125407C4-18B8-4D3E-A560-518CCB519ED6}" type="presParOf" srcId="{B0EFF3A6-BFD2-42D1-A36C-6F0CF970FC20}" destId="{948E3BF9-4AD2-4DB3-B82F-B3A74D7ABA54}" srcOrd="1" destOrd="0" presId="urn:microsoft.com/office/officeart/2005/8/layout/hierarchy3"/>
    <dgm:cxn modelId="{C64FED77-03F2-4E9D-8778-65F6F8A3A9FF}" type="presParOf" srcId="{948E3BF9-4AD2-4DB3-B82F-B3A74D7ABA54}" destId="{7B72E99B-BC1D-4D4C-8B87-1DF605CC6049}" srcOrd="0" destOrd="0" presId="urn:microsoft.com/office/officeart/2005/8/layout/hierarchy3"/>
    <dgm:cxn modelId="{C62BBE0C-1770-467E-9A95-5368521E5EBF}" type="presParOf" srcId="{7B72E99B-BC1D-4D4C-8B87-1DF605CC6049}" destId="{760F3EC0-A8DF-4F6E-AAB4-D132EF8F3DDB}" srcOrd="0" destOrd="0" presId="urn:microsoft.com/office/officeart/2005/8/layout/hierarchy3"/>
    <dgm:cxn modelId="{ACC7F22B-F53F-407D-999C-BE2B39AACF19}" type="presParOf" srcId="{7B72E99B-BC1D-4D4C-8B87-1DF605CC6049}" destId="{EC87454D-F00E-4981-BB5C-78585080D8DB}" srcOrd="1" destOrd="0" presId="urn:microsoft.com/office/officeart/2005/8/layout/hierarchy3"/>
    <dgm:cxn modelId="{6C78CC0E-25FA-4868-8EB2-EF3439302230}" type="presParOf" srcId="{948E3BF9-4AD2-4DB3-B82F-B3A74D7ABA54}" destId="{2A2AFC19-4B43-49C6-8A28-97DCC1FCD369}" srcOrd="1" destOrd="0" presId="urn:microsoft.com/office/officeart/2005/8/layout/hierarchy3"/>
    <dgm:cxn modelId="{744BE4B9-0056-41C2-BAFC-D7488FE5EC71}" type="presParOf" srcId="{B0EFF3A6-BFD2-42D1-A36C-6F0CF970FC20}" destId="{A629A840-6193-421A-8993-98548642E8BD}" srcOrd="2" destOrd="0" presId="urn:microsoft.com/office/officeart/2005/8/layout/hierarchy3"/>
    <dgm:cxn modelId="{842CE6EF-686D-41D5-AC25-3577345938BD}" type="presParOf" srcId="{A629A840-6193-421A-8993-98548642E8BD}" destId="{31439DD9-1A17-44B1-BDBF-9FA487BC37A8}" srcOrd="0" destOrd="0" presId="urn:microsoft.com/office/officeart/2005/8/layout/hierarchy3"/>
    <dgm:cxn modelId="{DC71BA76-F9BB-4ACA-AB7F-09FF373658BA}" type="presParOf" srcId="{31439DD9-1A17-44B1-BDBF-9FA487BC37A8}" destId="{CD836E33-6325-4384-880E-9CF51353FC33}" srcOrd="0" destOrd="0" presId="urn:microsoft.com/office/officeart/2005/8/layout/hierarchy3"/>
    <dgm:cxn modelId="{8B238F12-F6F9-4580-8DD8-02806B7FA10E}" type="presParOf" srcId="{31439DD9-1A17-44B1-BDBF-9FA487BC37A8}" destId="{9D00783B-013B-440E-8989-B5D0A697BA76}" srcOrd="1" destOrd="0" presId="urn:microsoft.com/office/officeart/2005/8/layout/hierarchy3"/>
    <dgm:cxn modelId="{4D8A013E-1AED-42D6-BE96-8DB469ADF3CD}" type="presParOf" srcId="{A629A840-6193-421A-8993-98548642E8BD}" destId="{654EA14D-7281-4DAC-84A1-292B39502057}" srcOrd="1" destOrd="0" presId="urn:microsoft.com/office/officeart/2005/8/layout/hierarchy3"/>
    <dgm:cxn modelId="{1082002E-1EB3-4B1C-A8AE-46226EBC696D}" type="presParOf" srcId="{B0EFF3A6-BFD2-42D1-A36C-6F0CF970FC20}" destId="{B68B613C-300A-4E5D-BC31-3589F10026EF}" srcOrd="3" destOrd="0" presId="urn:microsoft.com/office/officeart/2005/8/layout/hierarchy3"/>
    <dgm:cxn modelId="{40DEB304-1F00-4048-9E51-FAEEFBFFB885}" type="presParOf" srcId="{B68B613C-300A-4E5D-BC31-3589F10026EF}" destId="{D7446206-7482-4E75-B922-9D463B0F3A8B}" srcOrd="0" destOrd="0" presId="urn:microsoft.com/office/officeart/2005/8/layout/hierarchy3"/>
    <dgm:cxn modelId="{852073D6-B15D-413B-8037-8DCCF4EE4130}" type="presParOf" srcId="{D7446206-7482-4E75-B922-9D463B0F3A8B}" destId="{D4FC8D08-F1F0-4F9E-99D1-4FA4474A7196}" srcOrd="0" destOrd="0" presId="urn:microsoft.com/office/officeart/2005/8/layout/hierarchy3"/>
    <dgm:cxn modelId="{34D8E6CA-526E-4951-BC18-2AFE6642539F}" type="presParOf" srcId="{D7446206-7482-4E75-B922-9D463B0F3A8B}" destId="{E097DEB8-A8D3-488C-A03B-3A830EA8BC6F}" srcOrd="1" destOrd="0" presId="urn:microsoft.com/office/officeart/2005/8/layout/hierarchy3"/>
    <dgm:cxn modelId="{FA389C49-FEDF-4D44-9C40-E875505A2AE6}" type="presParOf" srcId="{B68B613C-300A-4E5D-BC31-3589F10026EF}" destId="{FFBC7B45-B7BB-432C-BBC5-81ECF3E2EDE3}" srcOrd="1" destOrd="0" presId="urn:microsoft.com/office/officeart/2005/8/layout/hierarchy3"/>
    <dgm:cxn modelId="{4106706A-EFF2-479C-92A9-255A3F3CC71A}" type="presParOf" srcId="{B0EFF3A6-BFD2-42D1-A36C-6F0CF970FC20}" destId="{59FC076A-7638-45E5-B5A4-2754D4231026}" srcOrd="4" destOrd="0" presId="urn:microsoft.com/office/officeart/2005/8/layout/hierarchy3"/>
    <dgm:cxn modelId="{58596C39-1C05-447F-A4AF-03DA7E2EA6C9}" type="presParOf" srcId="{59FC076A-7638-45E5-B5A4-2754D4231026}" destId="{D9A7FB61-69A0-4A5B-9984-4081029B01F5}" srcOrd="0" destOrd="0" presId="urn:microsoft.com/office/officeart/2005/8/layout/hierarchy3"/>
    <dgm:cxn modelId="{715D1BAB-D302-4959-B5E4-CB3A5E54913F}" type="presParOf" srcId="{D9A7FB61-69A0-4A5B-9984-4081029B01F5}" destId="{EC970439-E4C8-404E-AB88-2F86771B21E3}" srcOrd="0" destOrd="0" presId="urn:microsoft.com/office/officeart/2005/8/layout/hierarchy3"/>
    <dgm:cxn modelId="{0BE4E82A-2ECA-48C6-B171-ED2A378632E7}" type="presParOf" srcId="{D9A7FB61-69A0-4A5B-9984-4081029B01F5}" destId="{1F7D4F22-B374-45C0-A64A-25FD5421BCA2}" srcOrd="1" destOrd="0" presId="urn:microsoft.com/office/officeart/2005/8/layout/hierarchy3"/>
    <dgm:cxn modelId="{79A5C7CA-2A8A-441C-A9E2-7A08D6C4B70C}" type="presParOf" srcId="{59FC076A-7638-45E5-B5A4-2754D4231026}" destId="{F0EBAC1E-C0D6-449F-86A2-7A57C9B05030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E87F570-9B7B-4287-951B-0B56F271F759}" type="doc">
      <dgm:prSet loTypeId="urn:microsoft.com/office/officeart/2005/8/layout/radial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9704634-9924-4434-AA9F-FA88D62E3123}">
      <dgm:prSet custT="1"/>
      <dgm:spPr>
        <a:xfrm>
          <a:off x="1444581" y="37213"/>
          <a:ext cx="1436670" cy="1290490"/>
        </a:xfrm>
        <a:prstGeom prst="ellipse">
          <a:avLst/>
        </a:prstGeom>
        <a:solidFill>
          <a:srgbClr val="01436C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pt-BR" sz="2000" b="1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Entrada Supervisor </a:t>
          </a:r>
          <a:r>
            <a:rPr lang="pt-BR" sz="2000" b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de  </a:t>
          </a:r>
          <a:r>
            <a:rPr lang="pt-BR" sz="2000" b="0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40 horas, na modalidade presencial.</a:t>
          </a:r>
          <a:endParaRPr lang="pt-BR" sz="2000" b="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gm:t>
    </dgm:pt>
    <dgm:pt modelId="{2DE4B5F0-55E0-4DC9-BFF9-3E9D4498D237}" type="parTrans" cxnId="{C974FD75-9761-4A55-A93C-8AC660ECF564}">
      <dgm:prSet>
        <dgm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dgm:style>
      </dgm:prSet>
      <dgm:spPr>
        <a:xfrm rot="18987409">
          <a:off x="1322453" y="1257401"/>
          <a:ext cx="402407" cy="65214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02407" y="32607"/>
              </a:lnTo>
            </a:path>
          </a:pathLst>
        </a:custGeom>
        <a:ln>
          <a:solidFill>
            <a:srgbClr val="043765"/>
          </a:solidFill>
        </a:ln>
      </dgm:spPr>
      <dgm:t>
        <a:bodyPr/>
        <a:lstStyle/>
        <a:p>
          <a:endParaRPr lang="pt-BR"/>
        </a:p>
      </dgm:t>
    </dgm:pt>
    <dgm:pt modelId="{883AB215-AA87-4F49-A4D7-62A0149D5233}" type="sibTrans" cxnId="{C974FD75-9761-4A55-A93C-8AC660ECF564}">
      <dgm:prSet/>
      <dgm:spPr/>
      <dgm:t>
        <a:bodyPr/>
        <a:lstStyle/>
        <a:p>
          <a:endParaRPr lang="pt-BR"/>
        </a:p>
      </dgm:t>
    </dgm:pt>
    <dgm:pt modelId="{E13BA1F0-AD87-4A15-957C-8BB74FF08A6E}">
      <dgm:prSet custT="1"/>
      <dgm:spPr>
        <a:xfrm>
          <a:off x="1925260" y="1457754"/>
          <a:ext cx="1248769" cy="1160679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pt-BR" sz="2000" b="1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Vigia  </a:t>
          </a:r>
          <a:r>
            <a:rPr lang="pt-BR" sz="2000" b="0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16 horas, na modalidade</a:t>
          </a:r>
          <a:r>
            <a:rPr lang="pt-BR" sz="900" b="0" i="0" dirty="0">
              <a:solidFill>
                <a:srgbClr val="01436C"/>
              </a:solidFill>
              <a:latin typeface="Century Gothic" panose="020B0502020202020204"/>
              <a:ea typeface="+mn-ea"/>
              <a:cs typeface="+mn-cs"/>
            </a:rPr>
            <a:t>.</a:t>
          </a:r>
          <a:endParaRPr lang="pt-BR" b="0" dirty="0">
            <a:solidFill>
              <a:srgbClr val="01436C"/>
            </a:solidFill>
            <a:latin typeface="Century Gothic" panose="020B0502020202020204"/>
            <a:ea typeface="+mn-ea"/>
            <a:cs typeface="+mn-cs"/>
          </a:endParaRPr>
        </a:p>
      </dgm:t>
    </dgm:pt>
    <dgm:pt modelId="{46505356-1800-4CE5-A64A-5CA8F7DF7915}" type="parTrans" cxnId="{2DACD66F-494D-413E-98E9-104B99307507}">
      <dgm:prSet/>
      <dgm:spPr>
        <a:xfrm>
          <a:off x="1377813" y="2005487"/>
          <a:ext cx="547446" cy="65214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547446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</a:ln>
        <a:effectLst/>
      </dgm:spPr>
      <dgm:t>
        <a:bodyPr/>
        <a:lstStyle/>
        <a:p>
          <a:endParaRPr lang="pt-BR"/>
        </a:p>
      </dgm:t>
    </dgm:pt>
    <dgm:pt modelId="{EB456929-8B88-4C29-A06C-C7B4EAA00B53}" type="sibTrans" cxnId="{2DACD66F-494D-413E-98E9-104B99307507}">
      <dgm:prSet/>
      <dgm:spPr/>
      <dgm:t>
        <a:bodyPr/>
        <a:lstStyle/>
        <a:p>
          <a:endParaRPr lang="pt-BR"/>
        </a:p>
      </dgm:t>
    </dgm:pt>
    <dgm:pt modelId="{10229402-A36D-4516-B387-038FDC7F235C}">
      <dgm:prSet custT="1"/>
      <dgm:spPr>
        <a:xfrm>
          <a:off x="1512823" y="2752811"/>
          <a:ext cx="1327483" cy="1281838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pt-BR" sz="2000" b="1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Trabalhador Autorizado</a:t>
          </a:r>
          <a:r>
            <a:rPr lang="pt-BR" sz="2000" b="0" i="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 16 horas, na modalidade presencial</a:t>
          </a:r>
          <a:endParaRPr lang="pt-BR" sz="2000" b="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gm:t>
    </dgm:pt>
    <dgm:pt modelId="{8BAD1A95-1CA8-4841-8F6C-94F9425CC71F}" type="parTrans" cxnId="{3E3CBE71-44AB-4C97-BD05-94DD585AB9C3}">
      <dgm:prSet/>
      <dgm:spPr>
        <a:xfrm rot="2596247">
          <a:off x="1317418" y="2761452"/>
          <a:ext cx="444281" cy="65214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44281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</a:ln>
        <a:effectLst/>
      </dgm:spPr>
      <dgm:t>
        <a:bodyPr/>
        <a:lstStyle/>
        <a:p>
          <a:endParaRPr lang="pt-BR"/>
        </a:p>
      </dgm:t>
    </dgm:pt>
    <dgm:pt modelId="{9265430B-C7EA-4CF6-AD19-B637EAE07A39}" type="sibTrans" cxnId="{3E3CBE71-44AB-4C97-BD05-94DD585AB9C3}">
      <dgm:prSet/>
      <dgm:spPr/>
      <dgm:t>
        <a:bodyPr/>
        <a:lstStyle/>
        <a:p>
          <a:endParaRPr lang="pt-BR"/>
        </a:p>
      </dgm:t>
    </dgm:pt>
    <dgm:pt modelId="{A1B876C1-A432-4209-8BD1-B356C9E2E1BF}" type="pres">
      <dgm:prSet presAssocID="{2E87F570-9B7B-4287-951B-0B56F271F759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200D9E6C-CF0B-4B6C-AC86-9918F8DFD9EC}" type="pres">
      <dgm:prSet presAssocID="{2E87F570-9B7B-4287-951B-0B56F271F759}" presName="cycle" presStyleCnt="0"/>
      <dgm:spPr/>
    </dgm:pt>
    <dgm:pt modelId="{D9D108D3-66E6-48E0-9055-A28C2ED29EAA}" type="pres">
      <dgm:prSet presAssocID="{2E87F570-9B7B-4287-951B-0B56F271F759}" presName="centerShape" presStyleCnt="0"/>
      <dgm:spPr/>
    </dgm:pt>
    <dgm:pt modelId="{47A4B3BA-825A-420B-AB50-6BF41C739F34}" type="pres">
      <dgm:prSet presAssocID="{2E87F570-9B7B-4287-951B-0B56F271F759}" presName="connSite" presStyleLbl="node1" presStyleIdx="0" presStyleCnt="4"/>
      <dgm:spPr/>
    </dgm:pt>
    <dgm:pt modelId="{0EDB87B6-57FC-4115-A8BD-B06C761B62AC}" type="pres">
      <dgm:prSet presAssocID="{2E87F570-9B7B-4287-951B-0B56F271F759}" presName="visible" presStyleLbl="node1" presStyleIdx="0" presStyleCnt="4" custScaleX="70916" custScaleY="67264" custLinFactNeighborX="-10281" custLinFactNeighborY="631"/>
      <dgm:spPr>
        <a:xfrm>
          <a:off x="0" y="1539934"/>
          <a:ext cx="1299354" cy="1175659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5875" cap="rnd" cmpd="sng" algn="ctr">
          <a:solidFill>
            <a:srgbClr val="043765"/>
          </a:solidFill>
          <a:prstDash val="solid"/>
        </a:ln>
        <a:effectLst/>
      </dgm:spPr>
    </dgm:pt>
    <dgm:pt modelId="{1CE5DF7D-B40E-4DA8-B39B-5E3151E228E4}" type="pres">
      <dgm:prSet presAssocID="{2DE4B5F0-55E0-4DC9-BFF9-3E9D4498D237}" presName="Name25" presStyleLbl="parChTrans1D1" presStyleIdx="0" presStyleCnt="3"/>
      <dgm:spPr/>
    </dgm:pt>
    <dgm:pt modelId="{C5291FF4-D7CC-4E8A-8528-4787DBDC4D49}" type="pres">
      <dgm:prSet presAssocID="{89704634-9924-4434-AA9F-FA88D62E3123}" presName="node" presStyleCnt="0"/>
      <dgm:spPr/>
    </dgm:pt>
    <dgm:pt modelId="{69B42FB0-88F4-41C4-807C-990A5B503407}" type="pres">
      <dgm:prSet presAssocID="{89704634-9924-4434-AA9F-FA88D62E3123}" presName="parentNode" presStyleLbl="node1" presStyleIdx="1" presStyleCnt="4" custScaleX="130684" custScaleY="117387">
        <dgm:presLayoutVars>
          <dgm:chMax val="1"/>
          <dgm:bulletEnabled val="1"/>
        </dgm:presLayoutVars>
      </dgm:prSet>
      <dgm:spPr/>
    </dgm:pt>
    <dgm:pt modelId="{AC9B86BB-7004-4D8E-862E-76FF2C73538D}" type="pres">
      <dgm:prSet presAssocID="{89704634-9924-4434-AA9F-FA88D62E3123}" presName="childNode" presStyleLbl="revTx" presStyleIdx="0" presStyleCnt="0">
        <dgm:presLayoutVars>
          <dgm:bulletEnabled val="1"/>
        </dgm:presLayoutVars>
      </dgm:prSet>
      <dgm:spPr/>
    </dgm:pt>
    <dgm:pt modelId="{10733655-47B1-4B37-B0D8-E1240D26F2AB}" type="pres">
      <dgm:prSet presAssocID="{46505356-1800-4CE5-A64A-5CA8F7DF7915}" presName="Name25" presStyleLbl="parChTrans1D1" presStyleIdx="1" presStyleCnt="3"/>
      <dgm:spPr/>
    </dgm:pt>
    <dgm:pt modelId="{5AD777F8-7715-47A9-8641-E4561998D09C}" type="pres">
      <dgm:prSet presAssocID="{E13BA1F0-AD87-4A15-957C-8BB74FF08A6E}" presName="node" presStyleCnt="0"/>
      <dgm:spPr/>
    </dgm:pt>
    <dgm:pt modelId="{C6B7BA0B-5CC2-49FF-A634-218B21B22499}" type="pres">
      <dgm:prSet presAssocID="{E13BA1F0-AD87-4A15-957C-8BB74FF08A6E}" presName="parentNode" presStyleLbl="node1" presStyleIdx="2" presStyleCnt="4" custScaleX="113592" custScaleY="105579">
        <dgm:presLayoutVars>
          <dgm:chMax val="1"/>
          <dgm:bulletEnabled val="1"/>
        </dgm:presLayoutVars>
      </dgm:prSet>
      <dgm:spPr/>
    </dgm:pt>
    <dgm:pt modelId="{EBAD2C71-BCFF-4330-8EF2-A85F610E133D}" type="pres">
      <dgm:prSet presAssocID="{E13BA1F0-AD87-4A15-957C-8BB74FF08A6E}" presName="childNode" presStyleLbl="revTx" presStyleIdx="0" presStyleCnt="0">
        <dgm:presLayoutVars>
          <dgm:bulletEnabled val="1"/>
        </dgm:presLayoutVars>
      </dgm:prSet>
      <dgm:spPr/>
    </dgm:pt>
    <dgm:pt modelId="{8BFC0771-BEAD-4317-8DFB-5D7A1E8004F0}" type="pres">
      <dgm:prSet presAssocID="{8BAD1A95-1CA8-4841-8F6C-94F9425CC71F}" presName="Name25" presStyleLbl="parChTrans1D1" presStyleIdx="2" presStyleCnt="3"/>
      <dgm:spPr/>
    </dgm:pt>
    <dgm:pt modelId="{71B146B8-2C8D-4300-B251-F4C58C9A664A}" type="pres">
      <dgm:prSet presAssocID="{10229402-A36D-4516-B387-038FDC7F235C}" presName="node" presStyleCnt="0"/>
      <dgm:spPr/>
    </dgm:pt>
    <dgm:pt modelId="{2B676140-9214-4AD6-8AD6-E629FCE578F7}" type="pres">
      <dgm:prSet presAssocID="{10229402-A36D-4516-B387-038FDC7F235C}" presName="parentNode" presStyleLbl="node1" presStyleIdx="3" presStyleCnt="4" custScaleX="120752" custScaleY="116600">
        <dgm:presLayoutVars>
          <dgm:chMax val="1"/>
          <dgm:bulletEnabled val="1"/>
        </dgm:presLayoutVars>
      </dgm:prSet>
      <dgm:spPr/>
    </dgm:pt>
    <dgm:pt modelId="{3B55B5A1-3FCF-4C4B-8F82-5B8F5C3651ED}" type="pres">
      <dgm:prSet presAssocID="{10229402-A36D-4516-B387-038FDC7F235C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2DACD66F-494D-413E-98E9-104B99307507}" srcId="{2E87F570-9B7B-4287-951B-0B56F271F759}" destId="{E13BA1F0-AD87-4A15-957C-8BB74FF08A6E}" srcOrd="1" destOrd="0" parTransId="{46505356-1800-4CE5-A64A-5CA8F7DF7915}" sibTransId="{EB456929-8B88-4C29-A06C-C7B4EAA00B53}"/>
    <dgm:cxn modelId="{3E3CBE71-44AB-4C97-BD05-94DD585AB9C3}" srcId="{2E87F570-9B7B-4287-951B-0B56F271F759}" destId="{10229402-A36D-4516-B387-038FDC7F235C}" srcOrd="2" destOrd="0" parTransId="{8BAD1A95-1CA8-4841-8F6C-94F9425CC71F}" sibTransId="{9265430B-C7EA-4CF6-AD19-B637EAE07A39}"/>
    <dgm:cxn modelId="{023A6D52-9012-4FCC-842A-F685FF73DCD9}" type="presOf" srcId="{E13BA1F0-AD87-4A15-957C-8BB74FF08A6E}" destId="{C6B7BA0B-5CC2-49FF-A634-218B21B22499}" srcOrd="0" destOrd="0" presId="urn:microsoft.com/office/officeart/2005/8/layout/radial2"/>
    <dgm:cxn modelId="{03CA0D54-7CA7-4731-B654-89A5712332FB}" type="presOf" srcId="{2E87F570-9B7B-4287-951B-0B56F271F759}" destId="{A1B876C1-A432-4209-8BD1-B356C9E2E1BF}" srcOrd="0" destOrd="0" presId="urn:microsoft.com/office/officeart/2005/8/layout/radial2"/>
    <dgm:cxn modelId="{C974FD75-9761-4A55-A93C-8AC660ECF564}" srcId="{2E87F570-9B7B-4287-951B-0B56F271F759}" destId="{89704634-9924-4434-AA9F-FA88D62E3123}" srcOrd="0" destOrd="0" parTransId="{2DE4B5F0-55E0-4DC9-BFF9-3E9D4498D237}" sibTransId="{883AB215-AA87-4F49-A4D7-62A0149D5233}"/>
    <dgm:cxn modelId="{BF0DC88A-1A90-467E-A3C6-EF8ECB92D57F}" type="presOf" srcId="{10229402-A36D-4516-B387-038FDC7F235C}" destId="{2B676140-9214-4AD6-8AD6-E629FCE578F7}" srcOrd="0" destOrd="0" presId="urn:microsoft.com/office/officeart/2005/8/layout/radial2"/>
    <dgm:cxn modelId="{1BDB7BB2-DB97-4336-88AC-EA714C700CAE}" type="presOf" srcId="{46505356-1800-4CE5-A64A-5CA8F7DF7915}" destId="{10733655-47B1-4B37-B0D8-E1240D26F2AB}" srcOrd="0" destOrd="0" presId="urn:microsoft.com/office/officeart/2005/8/layout/radial2"/>
    <dgm:cxn modelId="{9AB8A6C2-190B-4153-BC59-705E82E108A6}" type="presOf" srcId="{89704634-9924-4434-AA9F-FA88D62E3123}" destId="{69B42FB0-88F4-41C4-807C-990A5B503407}" srcOrd="0" destOrd="0" presId="urn:microsoft.com/office/officeart/2005/8/layout/radial2"/>
    <dgm:cxn modelId="{FCA565E0-EB72-4F40-9963-98389FEBB36A}" type="presOf" srcId="{8BAD1A95-1CA8-4841-8F6C-94F9425CC71F}" destId="{8BFC0771-BEAD-4317-8DFB-5D7A1E8004F0}" srcOrd="0" destOrd="0" presId="urn:microsoft.com/office/officeart/2005/8/layout/radial2"/>
    <dgm:cxn modelId="{702348FF-093A-428A-B1DD-A34BD373ED59}" type="presOf" srcId="{2DE4B5F0-55E0-4DC9-BFF9-3E9D4498D237}" destId="{1CE5DF7D-B40E-4DA8-B39B-5E3151E228E4}" srcOrd="0" destOrd="0" presId="urn:microsoft.com/office/officeart/2005/8/layout/radial2"/>
    <dgm:cxn modelId="{EAB3DD9A-ABE7-4925-9E32-09F4F96F4389}" type="presParOf" srcId="{A1B876C1-A432-4209-8BD1-B356C9E2E1BF}" destId="{200D9E6C-CF0B-4B6C-AC86-9918F8DFD9EC}" srcOrd="0" destOrd="0" presId="urn:microsoft.com/office/officeart/2005/8/layout/radial2"/>
    <dgm:cxn modelId="{6E94E29F-8F70-4C49-9282-CE593C3D0DBC}" type="presParOf" srcId="{200D9E6C-CF0B-4B6C-AC86-9918F8DFD9EC}" destId="{D9D108D3-66E6-48E0-9055-A28C2ED29EAA}" srcOrd="0" destOrd="0" presId="urn:microsoft.com/office/officeart/2005/8/layout/radial2"/>
    <dgm:cxn modelId="{344A4B44-5FA6-44FA-B57A-40ECD608D2CD}" type="presParOf" srcId="{D9D108D3-66E6-48E0-9055-A28C2ED29EAA}" destId="{47A4B3BA-825A-420B-AB50-6BF41C739F34}" srcOrd="0" destOrd="0" presId="urn:microsoft.com/office/officeart/2005/8/layout/radial2"/>
    <dgm:cxn modelId="{68907E06-5488-49CA-9358-FC2B3BC1E667}" type="presParOf" srcId="{D9D108D3-66E6-48E0-9055-A28C2ED29EAA}" destId="{0EDB87B6-57FC-4115-A8BD-B06C761B62AC}" srcOrd="1" destOrd="0" presId="urn:microsoft.com/office/officeart/2005/8/layout/radial2"/>
    <dgm:cxn modelId="{B2287BE4-F8D5-45FD-A238-FCF863AF0013}" type="presParOf" srcId="{200D9E6C-CF0B-4B6C-AC86-9918F8DFD9EC}" destId="{1CE5DF7D-B40E-4DA8-B39B-5E3151E228E4}" srcOrd="1" destOrd="0" presId="urn:microsoft.com/office/officeart/2005/8/layout/radial2"/>
    <dgm:cxn modelId="{3015271A-4D17-4555-8AB7-F2C2E5771541}" type="presParOf" srcId="{200D9E6C-CF0B-4B6C-AC86-9918F8DFD9EC}" destId="{C5291FF4-D7CC-4E8A-8528-4787DBDC4D49}" srcOrd="2" destOrd="0" presId="urn:microsoft.com/office/officeart/2005/8/layout/radial2"/>
    <dgm:cxn modelId="{F6991430-53FB-4FE2-B1A3-9113611B42A7}" type="presParOf" srcId="{C5291FF4-D7CC-4E8A-8528-4787DBDC4D49}" destId="{69B42FB0-88F4-41C4-807C-990A5B503407}" srcOrd="0" destOrd="0" presId="urn:microsoft.com/office/officeart/2005/8/layout/radial2"/>
    <dgm:cxn modelId="{C9E14335-B330-4184-8D40-BB99455BB85D}" type="presParOf" srcId="{C5291FF4-D7CC-4E8A-8528-4787DBDC4D49}" destId="{AC9B86BB-7004-4D8E-862E-76FF2C73538D}" srcOrd="1" destOrd="0" presId="urn:microsoft.com/office/officeart/2005/8/layout/radial2"/>
    <dgm:cxn modelId="{FCDA2562-9410-4BDA-839B-56EAD182158E}" type="presParOf" srcId="{200D9E6C-CF0B-4B6C-AC86-9918F8DFD9EC}" destId="{10733655-47B1-4B37-B0D8-E1240D26F2AB}" srcOrd="3" destOrd="0" presId="urn:microsoft.com/office/officeart/2005/8/layout/radial2"/>
    <dgm:cxn modelId="{C507758C-5231-47CD-9CF8-B5B0A5779CC2}" type="presParOf" srcId="{200D9E6C-CF0B-4B6C-AC86-9918F8DFD9EC}" destId="{5AD777F8-7715-47A9-8641-E4561998D09C}" srcOrd="4" destOrd="0" presId="urn:microsoft.com/office/officeart/2005/8/layout/radial2"/>
    <dgm:cxn modelId="{D617DB9C-E784-4960-A157-47A4043B1975}" type="presParOf" srcId="{5AD777F8-7715-47A9-8641-E4561998D09C}" destId="{C6B7BA0B-5CC2-49FF-A634-218B21B22499}" srcOrd="0" destOrd="0" presId="urn:microsoft.com/office/officeart/2005/8/layout/radial2"/>
    <dgm:cxn modelId="{838F385B-FD17-488C-B948-6C1DEAE4386F}" type="presParOf" srcId="{5AD777F8-7715-47A9-8641-E4561998D09C}" destId="{EBAD2C71-BCFF-4330-8EF2-A85F610E133D}" srcOrd="1" destOrd="0" presId="urn:microsoft.com/office/officeart/2005/8/layout/radial2"/>
    <dgm:cxn modelId="{EB9ABB39-8A13-4A57-B845-BB0AD93B9541}" type="presParOf" srcId="{200D9E6C-CF0B-4B6C-AC86-9918F8DFD9EC}" destId="{8BFC0771-BEAD-4317-8DFB-5D7A1E8004F0}" srcOrd="5" destOrd="0" presId="urn:microsoft.com/office/officeart/2005/8/layout/radial2"/>
    <dgm:cxn modelId="{5E37D727-7278-499E-AF3F-2C464D7785BA}" type="presParOf" srcId="{200D9E6C-CF0B-4B6C-AC86-9918F8DFD9EC}" destId="{71B146B8-2C8D-4300-B251-F4C58C9A664A}" srcOrd="6" destOrd="0" presId="urn:microsoft.com/office/officeart/2005/8/layout/radial2"/>
    <dgm:cxn modelId="{4727714D-669A-4114-8B51-F158A0D1D392}" type="presParOf" srcId="{71B146B8-2C8D-4300-B251-F4C58C9A664A}" destId="{2B676140-9214-4AD6-8AD6-E629FCE578F7}" srcOrd="0" destOrd="0" presId="urn:microsoft.com/office/officeart/2005/8/layout/radial2"/>
    <dgm:cxn modelId="{5CCA1F17-44E8-4D35-9B17-7432C4047696}" type="presParOf" srcId="{71B146B8-2C8D-4300-B251-F4C58C9A664A}" destId="{3B55B5A1-3FCF-4C4B-8F82-5B8F5C3651ED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E87F570-9B7B-4287-951B-0B56F271F759}" type="doc">
      <dgm:prSet loTypeId="urn:microsoft.com/office/officeart/2005/8/layout/radial2" loCatId="relationship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pt-BR"/>
        </a:p>
      </dgm:t>
    </dgm:pt>
    <dgm:pt modelId="{E13BA1F0-AD87-4A15-957C-8BB74FF08A6E}">
      <dgm:prSet custT="1"/>
      <dgm:spPr/>
      <dgm:t>
        <a:bodyPr/>
        <a:lstStyle/>
        <a:p>
          <a:r>
            <a:rPr lang="pt-BR" sz="2800" b="0" dirty="0">
              <a:solidFill>
                <a:srgbClr val="111111"/>
              </a:solidFill>
              <a:latin typeface="Montserrat" pitchFamily="2" charset="0"/>
            </a:rPr>
            <a:t> </a:t>
          </a:r>
          <a:r>
            <a:rPr lang="pt-BR" sz="2800" b="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rPr>
            <a:t>Inicial e Reciclagem: 08 horas de treinamento</a:t>
          </a:r>
        </a:p>
      </dgm:t>
    </dgm:pt>
    <dgm:pt modelId="{EB456929-8B88-4C29-A06C-C7B4EAA00B53}" type="sibTrans" cxnId="{2DACD66F-494D-413E-98E9-104B99307507}">
      <dgm:prSet/>
      <dgm:spPr/>
      <dgm:t>
        <a:bodyPr/>
        <a:lstStyle/>
        <a:p>
          <a:endParaRPr lang="pt-BR"/>
        </a:p>
      </dgm:t>
    </dgm:pt>
    <dgm:pt modelId="{46505356-1800-4CE5-A64A-5CA8F7DF7915}" type="parTrans" cxnId="{2DACD66F-494D-413E-98E9-104B99307507}">
      <dgm:prSet/>
      <dgm:spPr/>
      <dgm:t>
        <a:bodyPr/>
        <a:lstStyle/>
        <a:p>
          <a:endParaRPr lang="pt-BR"/>
        </a:p>
      </dgm:t>
    </dgm:pt>
    <dgm:pt modelId="{A1B876C1-A432-4209-8BD1-B356C9E2E1BF}" type="pres">
      <dgm:prSet presAssocID="{2E87F570-9B7B-4287-951B-0B56F271F759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200D9E6C-CF0B-4B6C-AC86-9918F8DFD9EC}" type="pres">
      <dgm:prSet presAssocID="{2E87F570-9B7B-4287-951B-0B56F271F759}" presName="cycle" presStyleCnt="0"/>
      <dgm:spPr/>
    </dgm:pt>
    <dgm:pt modelId="{D9D108D3-66E6-48E0-9055-A28C2ED29EAA}" type="pres">
      <dgm:prSet presAssocID="{2E87F570-9B7B-4287-951B-0B56F271F759}" presName="centerShape" presStyleCnt="0"/>
      <dgm:spPr/>
    </dgm:pt>
    <dgm:pt modelId="{47A4B3BA-825A-420B-AB50-6BF41C739F34}" type="pres">
      <dgm:prSet presAssocID="{2E87F570-9B7B-4287-951B-0B56F271F759}" presName="connSite" presStyleLbl="node1" presStyleIdx="0" presStyleCnt="2"/>
      <dgm:spPr/>
    </dgm:pt>
    <dgm:pt modelId="{0EDB87B6-57FC-4115-A8BD-B06C761B62AC}" type="pres">
      <dgm:prSet presAssocID="{2E87F570-9B7B-4287-951B-0B56F271F759}" presName="visible" presStyleLbl="node1" presStyleIdx="0" presStyleCnt="2" custScaleX="70459" custScaleY="64165" custLinFactNeighborX="3243" custLinFactNeighborY="58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10733655-47B1-4B37-B0D8-E1240D26F2AB}" type="pres">
      <dgm:prSet presAssocID="{46505356-1800-4CE5-A64A-5CA8F7DF7915}" presName="Name25" presStyleLbl="parChTrans1D1" presStyleIdx="0" presStyleCnt="1"/>
      <dgm:spPr/>
    </dgm:pt>
    <dgm:pt modelId="{5AD777F8-7715-47A9-8641-E4561998D09C}" type="pres">
      <dgm:prSet presAssocID="{E13BA1F0-AD87-4A15-957C-8BB74FF08A6E}" presName="node" presStyleCnt="0"/>
      <dgm:spPr/>
    </dgm:pt>
    <dgm:pt modelId="{C6B7BA0B-5CC2-49FF-A634-218B21B22499}" type="pres">
      <dgm:prSet presAssocID="{E13BA1F0-AD87-4A15-957C-8BB74FF08A6E}" presName="parentNode" presStyleLbl="node1" presStyleIdx="1" presStyleCnt="2" custScaleX="113592" custScaleY="105579" custLinFactNeighborX="3550" custLinFactNeighborY="2496">
        <dgm:presLayoutVars>
          <dgm:chMax val="1"/>
          <dgm:bulletEnabled val="1"/>
        </dgm:presLayoutVars>
      </dgm:prSet>
      <dgm:spPr/>
    </dgm:pt>
    <dgm:pt modelId="{EBAD2C71-BCFF-4330-8EF2-A85F610E133D}" type="pres">
      <dgm:prSet presAssocID="{E13BA1F0-AD87-4A15-957C-8BB74FF08A6E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2DACD66F-494D-413E-98E9-104B99307507}" srcId="{2E87F570-9B7B-4287-951B-0B56F271F759}" destId="{E13BA1F0-AD87-4A15-957C-8BB74FF08A6E}" srcOrd="0" destOrd="0" parTransId="{46505356-1800-4CE5-A64A-5CA8F7DF7915}" sibTransId="{EB456929-8B88-4C29-A06C-C7B4EAA00B53}"/>
    <dgm:cxn modelId="{023A6D52-9012-4FCC-842A-F685FF73DCD9}" type="presOf" srcId="{E13BA1F0-AD87-4A15-957C-8BB74FF08A6E}" destId="{C6B7BA0B-5CC2-49FF-A634-218B21B22499}" srcOrd="0" destOrd="0" presId="urn:microsoft.com/office/officeart/2005/8/layout/radial2"/>
    <dgm:cxn modelId="{03CA0D54-7CA7-4731-B654-89A5712332FB}" type="presOf" srcId="{2E87F570-9B7B-4287-951B-0B56F271F759}" destId="{A1B876C1-A432-4209-8BD1-B356C9E2E1BF}" srcOrd="0" destOrd="0" presId="urn:microsoft.com/office/officeart/2005/8/layout/radial2"/>
    <dgm:cxn modelId="{1BDB7BB2-DB97-4336-88AC-EA714C700CAE}" type="presOf" srcId="{46505356-1800-4CE5-A64A-5CA8F7DF7915}" destId="{10733655-47B1-4B37-B0D8-E1240D26F2AB}" srcOrd="0" destOrd="0" presId="urn:microsoft.com/office/officeart/2005/8/layout/radial2"/>
    <dgm:cxn modelId="{EAB3DD9A-ABE7-4925-9E32-09F4F96F4389}" type="presParOf" srcId="{A1B876C1-A432-4209-8BD1-B356C9E2E1BF}" destId="{200D9E6C-CF0B-4B6C-AC86-9918F8DFD9EC}" srcOrd="0" destOrd="0" presId="urn:microsoft.com/office/officeart/2005/8/layout/radial2"/>
    <dgm:cxn modelId="{6E94E29F-8F70-4C49-9282-CE593C3D0DBC}" type="presParOf" srcId="{200D9E6C-CF0B-4B6C-AC86-9918F8DFD9EC}" destId="{D9D108D3-66E6-48E0-9055-A28C2ED29EAA}" srcOrd="0" destOrd="0" presId="urn:microsoft.com/office/officeart/2005/8/layout/radial2"/>
    <dgm:cxn modelId="{344A4B44-5FA6-44FA-B57A-40ECD608D2CD}" type="presParOf" srcId="{D9D108D3-66E6-48E0-9055-A28C2ED29EAA}" destId="{47A4B3BA-825A-420B-AB50-6BF41C739F34}" srcOrd="0" destOrd="0" presId="urn:microsoft.com/office/officeart/2005/8/layout/radial2"/>
    <dgm:cxn modelId="{68907E06-5488-49CA-9358-FC2B3BC1E667}" type="presParOf" srcId="{D9D108D3-66E6-48E0-9055-A28C2ED29EAA}" destId="{0EDB87B6-57FC-4115-A8BD-B06C761B62AC}" srcOrd="1" destOrd="0" presId="urn:microsoft.com/office/officeart/2005/8/layout/radial2"/>
    <dgm:cxn modelId="{FCDA2562-9410-4BDA-839B-56EAD182158E}" type="presParOf" srcId="{200D9E6C-CF0B-4B6C-AC86-9918F8DFD9EC}" destId="{10733655-47B1-4B37-B0D8-E1240D26F2AB}" srcOrd="1" destOrd="0" presId="urn:microsoft.com/office/officeart/2005/8/layout/radial2"/>
    <dgm:cxn modelId="{C507758C-5231-47CD-9CF8-B5B0A5779CC2}" type="presParOf" srcId="{200D9E6C-CF0B-4B6C-AC86-9918F8DFD9EC}" destId="{5AD777F8-7715-47A9-8641-E4561998D09C}" srcOrd="2" destOrd="0" presId="urn:microsoft.com/office/officeart/2005/8/layout/radial2"/>
    <dgm:cxn modelId="{D617DB9C-E784-4960-A157-47A4043B1975}" type="presParOf" srcId="{5AD777F8-7715-47A9-8641-E4561998D09C}" destId="{C6B7BA0B-5CC2-49FF-A634-218B21B22499}" srcOrd="0" destOrd="0" presId="urn:microsoft.com/office/officeart/2005/8/layout/radial2"/>
    <dgm:cxn modelId="{838F385B-FD17-488C-B948-6C1DEAE4386F}" type="presParOf" srcId="{5AD777F8-7715-47A9-8641-E4561998D09C}" destId="{EBAD2C71-BCFF-4330-8EF2-A85F610E133D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7C8141-E908-42A1-895A-B69DE2CC0CD7}">
      <dsp:nvSpPr>
        <dsp:cNvPr id="0" name=""/>
        <dsp:cNvSpPr/>
      </dsp:nvSpPr>
      <dsp:spPr>
        <a:xfrm>
          <a:off x="10074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.</a:t>
          </a:r>
        </a:p>
      </dsp:txBody>
      <dsp:txXfrm>
        <a:off x="50245" y="40171"/>
        <a:ext cx="4324246" cy="1291206"/>
      </dsp:txXfrm>
    </dsp:sp>
    <dsp:sp modelId="{F251333B-9EC7-4478-8913-85D477D4066C}">
      <dsp:nvSpPr>
        <dsp:cNvPr id="0" name=""/>
        <dsp:cNvSpPr/>
      </dsp:nvSpPr>
      <dsp:spPr>
        <a:xfrm>
          <a:off x="4855121" y="139605"/>
          <a:ext cx="933772" cy="1092337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4855121" y="358072"/>
        <a:ext cx="653640" cy="655403"/>
      </dsp:txXfrm>
    </dsp:sp>
    <dsp:sp modelId="{F28CD00C-A522-49AD-BE68-CAAEBBA823C4}">
      <dsp:nvSpPr>
        <dsp:cNvPr id="0" name=""/>
        <dsp:cNvSpPr/>
      </dsp:nvSpPr>
      <dsp:spPr>
        <a:xfrm>
          <a:off x="6176498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. </a:t>
          </a:r>
        </a:p>
      </dsp:txBody>
      <dsp:txXfrm>
        <a:off x="6216669" y="40171"/>
        <a:ext cx="4324246" cy="1291206"/>
      </dsp:txXfrm>
    </dsp:sp>
    <dsp:sp modelId="{7069FE8A-8D51-4659-A13C-F9E92BBB874D}">
      <dsp:nvSpPr>
        <dsp:cNvPr id="0" name=""/>
        <dsp:cNvSpPr/>
      </dsp:nvSpPr>
      <dsp:spPr>
        <a:xfrm>
          <a:off x="11021545" y="139605"/>
          <a:ext cx="933772" cy="1092337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11021545" y="358072"/>
        <a:ext cx="653640" cy="655403"/>
      </dsp:txXfrm>
    </dsp:sp>
    <dsp:sp modelId="{7B1E4C8F-054A-4DD7-8241-84D8160FF8D7}">
      <dsp:nvSpPr>
        <dsp:cNvPr id="0" name=""/>
        <dsp:cNvSpPr/>
      </dsp:nvSpPr>
      <dsp:spPr>
        <a:xfrm>
          <a:off x="12342922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3- Fontes de ignição e seu controle.</a:t>
          </a:r>
        </a:p>
      </dsp:txBody>
      <dsp:txXfrm>
        <a:off x="12383093" y="40171"/>
        <a:ext cx="4324246" cy="1291206"/>
      </dsp:txXfrm>
    </dsp:sp>
    <dsp:sp modelId="{1966DF13-00A8-4D0E-94C8-C14F1405069A}">
      <dsp:nvSpPr>
        <dsp:cNvPr id="0" name=""/>
        <dsp:cNvSpPr/>
      </dsp:nvSpPr>
      <dsp:spPr>
        <a:xfrm>
          <a:off x="17187969" y="139605"/>
          <a:ext cx="933772" cy="1092337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17187969" y="358072"/>
        <a:ext cx="653640" cy="655403"/>
      </dsp:txXfrm>
    </dsp:sp>
    <dsp:sp modelId="{8E157347-5509-434F-BF06-87D7507EE3EC}">
      <dsp:nvSpPr>
        <dsp:cNvPr id="0" name=""/>
        <dsp:cNvSpPr/>
      </dsp:nvSpPr>
      <dsp:spPr>
        <a:xfrm>
          <a:off x="18509346" y="0"/>
          <a:ext cx="4404588" cy="1371548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4- Procedimentos básicos em situações de emergência com inflamáveis.</a:t>
          </a:r>
        </a:p>
      </dsp:txBody>
      <dsp:txXfrm>
        <a:off x="18549517" y="40171"/>
        <a:ext cx="4324246" cy="12912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0022D3-1A71-4050-93EF-116212908F70}">
      <dsp:nvSpPr>
        <dsp:cNvPr id="0" name=""/>
        <dsp:cNvSpPr/>
      </dsp:nvSpPr>
      <dsp:spPr>
        <a:xfrm>
          <a:off x="203667" y="275097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1- Inflamáveis: características, propriedades, perigos e riscos; </a:t>
          </a:r>
        </a:p>
      </dsp:txBody>
      <dsp:txXfrm>
        <a:off x="261805" y="333235"/>
        <a:ext cx="3853648" cy="1868686"/>
      </dsp:txXfrm>
    </dsp:sp>
    <dsp:sp modelId="{760F3EC0-A8DF-4F6E-AAB4-D132EF8F3DDB}">
      <dsp:nvSpPr>
        <dsp:cNvPr id="0" name=""/>
        <dsp:cNvSpPr/>
      </dsp:nvSpPr>
      <dsp:spPr>
        <a:xfrm>
          <a:off x="4974047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>
              <a:solidFill>
                <a:srgbClr val="01436C"/>
              </a:solidFill>
              <a:latin typeface="Montserrat" pitchFamily="2" charset="0"/>
            </a:rPr>
            <a:t>2- Controles coletivo e individual para trabalhos com inflamáveis; </a:t>
          </a:r>
        </a:p>
      </dsp:txBody>
      <dsp:txXfrm>
        <a:off x="5032185" y="352946"/>
        <a:ext cx="3853648" cy="1868686"/>
      </dsp:txXfrm>
    </dsp:sp>
    <dsp:sp modelId="{CD836E33-6325-4384-880E-9CF51353FC33}">
      <dsp:nvSpPr>
        <dsp:cNvPr id="0" name=""/>
        <dsp:cNvSpPr/>
      </dsp:nvSpPr>
      <dsp:spPr>
        <a:xfrm>
          <a:off x="9936453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3- Fontes de ignição e seu controle; </a:t>
          </a:r>
        </a:p>
      </dsp:txBody>
      <dsp:txXfrm>
        <a:off x="9994591" y="352946"/>
        <a:ext cx="3853648" cy="1868686"/>
      </dsp:txXfrm>
    </dsp:sp>
    <dsp:sp modelId="{D4FC8D08-F1F0-4F9E-99D1-4FA4474A7196}">
      <dsp:nvSpPr>
        <dsp:cNvPr id="0" name=""/>
        <dsp:cNvSpPr/>
      </dsp:nvSpPr>
      <dsp:spPr>
        <a:xfrm>
          <a:off x="14898858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4- Proteção contra incêndio com inflamáveis; </a:t>
          </a:r>
        </a:p>
      </dsp:txBody>
      <dsp:txXfrm>
        <a:off x="14956996" y="352946"/>
        <a:ext cx="3853648" cy="1868686"/>
      </dsp:txXfrm>
    </dsp:sp>
    <dsp:sp modelId="{EC970439-E4C8-404E-AB88-2F86771B21E3}">
      <dsp:nvSpPr>
        <dsp:cNvPr id="0" name=""/>
        <dsp:cNvSpPr/>
      </dsp:nvSpPr>
      <dsp:spPr>
        <a:xfrm>
          <a:off x="19861264" y="294808"/>
          <a:ext cx="3969924" cy="1984962"/>
        </a:xfrm>
        <a:prstGeom prst="roundRect">
          <a:avLst>
            <a:gd name="adj" fmla="val 1000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>
              <a:solidFill>
                <a:srgbClr val="01436C"/>
              </a:solidFill>
              <a:latin typeface="Montserrat" pitchFamily="2" charset="0"/>
            </a:rPr>
            <a:t>5- Procedimentos básicos em situações de emergência com inflamáveis</a:t>
          </a:r>
        </a:p>
      </dsp:txBody>
      <dsp:txXfrm>
        <a:off x="19919402" y="352946"/>
        <a:ext cx="3853648" cy="18686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FC0771-BEAD-4317-8DFB-5D7A1E8004F0}">
      <dsp:nvSpPr>
        <dsp:cNvPr id="0" name=""/>
        <dsp:cNvSpPr/>
      </dsp:nvSpPr>
      <dsp:spPr>
        <a:xfrm rot="2594963">
          <a:off x="4054073" y="5380603"/>
          <a:ext cx="907770" cy="51328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44281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733655-47B1-4B37-B0D8-E1240D26F2AB}">
      <dsp:nvSpPr>
        <dsp:cNvPr id="0" name=""/>
        <dsp:cNvSpPr/>
      </dsp:nvSpPr>
      <dsp:spPr>
        <a:xfrm>
          <a:off x="4177358" y="3846502"/>
          <a:ext cx="1116507" cy="51328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547446" y="32607"/>
              </a:lnTo>
            </a:path>
          </a:pathLst>
        </a:custGeom>
        <a:noFill/>
        <a:ln w="15875" cap="rnd" cmpd="sng" algn="ctr">
          <a:solidFill>
            <a:srgbClr val="04376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E5DF7D-B40E-4DA8-B39B-5E3151E228E4}">
      <dsp:nvSpPr>
        <dsp:cNvPr id="0" name=""/>
        <dsp:cNvSpPr/>
      </dsp:nvSpPr>
      <dsp:spPr>
        <a:xfrm rot="18988726">
          <a:off x="4064266" y="2328395"/>
          <a:ext cx="822848" cy="51328"/>
        </a:xfrm>
        <a:custGeom>
          <a:avLst/>
          <a:gdLst/>
          <a:ahLst/>
          <a:cxnLst/>
          <a:rect l="0" t="0" r="0" b="0"/>
          <a:pathLst>
            <a:path>
              <a:moveTo>
                <a:pt x="0" y="32607"/>
              </a:moveTo>
              <a:lnTo>
                <a:pt x="402407" y="32607"/>
              </a:lnTo>
            </a:path>
          </a:pathLst>
        </a:custGeom>
        <a:noFill/>
        <a:ln w="6350" cap="flat" cmpd="sng" algn="ctr">
          <a:solidFill>
            <a:srgbClr val="043765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dsp:style>
    </dsp:sp>
    <dsp:sp modelId="{0EDB87B6-57FC-4115-A8BD-B06C761B62AC}">
      <dsp:nvSpPr>
        <dsp:cNvPr id="0" name=""/>
        <dsp:cNvSpPr/>
      </dsp:nvSpPr>
      <dsp:spPr>
        <a:xfrm>
          <a:off x="1177945" y="2646195"/>
          <a:ext cx="2634493" cy="2498823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5875" cap="rnd" cmpd="sng" algn="ctr">
          <a:solidFill>
            <a:srgbClr val="04376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B42FB0-88F4-41C4-807C-990A5B503407}">
      <dsp:nvSpPr>
        <dsp:cNvPr id="0" name=""/>
        <dsp:cNvSpPr/>
      </dsp:nvSpPr>
      <dsp:spPr>
        <a:xfrm>
          <a:off x="4318393" y="-187969"/>
          <a:ext cx="2912906" cy="2616520"/>
        </a:xfrm>
        <a:prstGeom prst="ellipse">
          <a:avLst/>
        </a:prstGeom>
        <a:solidFill>
          <a:srgbClr val="01436C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Entrada Supervisor </a:t>
          </a:r>
          <a:r>
            <a:rPr lang="pt-BR" sz="2000" b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de  </a:t>
          </a:r>
          <a:r>
            <a:rPr lang="pt-BR" sz="2000" b="0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40 horas, na modalidade presencial.</a:t>
          </a:r>
          <a:endParaRPr lang="pt-BR" sz="2000" b="0" kern="120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sp:txBody>
      <dsp:txXfrm>
        <a:off x="4744978" y="195211"/>
        <a:ext cx="2059736" cy="1850160"/>
      </dsp:txXfrm>
    </dsp:sp>
    <dsp:sp modelId="{C6B7BA0B-5CC2-49FF-A634-218B21B22499}">
      <dsp:nvSpPr>
        <dsp:cNvPr id="0" name=""/>
        <dsp:cNvSpPr/>
      </dsp:nvSpPr>
      <dsp:spPr>
        <a:xfrm>
          <a:off x="5293865" y="2695504"/>
          <a:ext cx="2531931" cy="2353324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Vigia  </a:t>
          </a:r>
          <a:r>
            <a:rPr lang="pt-BR" sz="2000" b="0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16 horas, na modalidade</a:t>
          </a:r>
          <a:r>
            <a:rPr lang="pt-BR" sz="900" b="0" i="0" kern="1200" dirty="0">
              <a:solidFill>
                <a:srgbClr val="01436C"/>
              </a:solidFill>
              <a:latin typeface="Century Gothic" panose="020B0502020202020204"/>
              <a:ea typeface="+mn-ea"/>
              <a:cs typeface="+mn-cs"/>
            </a:rPr>
            <a:t>.</a:t>
          </a:r>
          <a:endParaRPr lang="pt-BR" b="0" kern="1200" dirty="0">
            <a:solidFill>
              <a:srgbClr val="01436C"/>
            </a:solidFill>
            <a:latin typeface="Century Gothic" panose="020B0502020202020204"/>
            <a:ea typeface="+mn-ea"/>
            <a:cs typeface="+mn-cs"/>
          </a:endParaRPr>
        </a:p>
      </dsp:txBody>
      <dsp:txXfrm>
        <a:off x="5664658" y="3040140"/>
        <a:ext cx="1790345" cy="1664052"/>
      </dsp:txXfrm>
    </dsp:sp>
    <dsp:sp modelId="{2B676140-9214-4AD6-8AD6-E629FCE578F7}">
      <dsp:nvSpPr>
        <dsp:cNvPr id="0" name=""/>
        <dsp:cNvSpPr/>
      </dsp:nvSpPr>
      <dsp:spPr>
        <a:xfrm>
          <a:off x="4456756" y="5324552"/>
          <a:ext cx="2691525" cy="2598978"/>
        </a:xfrm>
        <a:prstGeom prst="ellipse">
          <a:avLst/>
        </a:prstGeom>
        <a:solidFill>
          <a:srgbClr val="043765"/>
        </a:solidFill>
        <a:ln w="15875" cap="rnd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Trabalhador Autorizado</a:t>
          </a:r>
          <a:r>
            <a:rPr lang="pt-BR" sz="2000" b="0" i="0" kern="1200" dirty="0">
              <a:solidFill>
                <a:schemeClr val="bg1"/>
              </a:solidFill>
              <a:latin typeface="Montserrat" pitchFamily="2" charset="0"/>
              <a:ea typeface="+mn-ea"/>
              <a:cs typeface="+mn-cs"/>
            </a:rPr>
            <a:t> 16 horas, na modalidade presencial</a:t>
          </a:r>
          <a:endParaRPr lang="pt-BR" sz="2000" b="0" kern="1200" dirty="0">
            <a:solidFill>
              <a:schemeClr val="bg1"/>
            </a:solidFill>
            <a:latin typeface="Montserrat" pitchFamily="2" charset="0"/>
            <a:ea typeface="+mn-ea"/>
            <a:cs typeface="+mn-cs"/>
          </a:endParaRPr>
        </a:p>
      </dsp:txBody>
      <dsp:txXfrm>
        <a:off x="4850921" y="5705164"/>
        <a:ext cx="1903195" cy="183775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733655-47B1-4B37-B0D8-E1240D26F2AB}">
      <dsp:nvSpPr>
        <dsp:cNvPr id="0" name=""/>
        <dsp:cNvSpPr/>
      </dsp:nvSpPr>
      <dsp:spPr>
        <a:xfrm rot="59187">
          <a:off x="3720687" y="4862218"/>
          <a:ext cx="887388" cy="68730"/>
        </a:xfrm>
        <a:custGeom>
          <a:avLst/>
          <a:gdLst/>
          <a:ahLst/>
          <a:cxnLst/>
          <a:rect l="0" t="0" r="0" b="0"/>
          <a:pathLst>
            <a:path>
              <a:moveTo>
                <a:pt x="0" y="34365"/>
              </a:moveTo>
              <a:lnTo>
                <a:pt x="887388" y="343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DB87B6-57FC-4115-A8BD-B06C761B62AC}">
      <dsp:nvSpPr>
        <dsp:cNvPr id="0" name=""/>
        <dsp:cNvSpPr/>
      </dsp:nvSpPr>
      <dsp:spPr>
        <a:xfrm>
          <a:off x="401095" y="3272037"/>
          <a:ext cx="3491745" cy="3179832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B7BA0B-5CC2-49FF-A634-218B21B22499}">
      <dsp:nvSpPr>
        <dsp:cNvPr id="0" name=""/>
        <dsp:cNvSpPr/>
      </dsp:nvSpPr>
      <dsp:spPr>
        <a:xfrm>
          <a:off x="4607721" y="3363638"/>
          <a:ext cx="3377575" cy="313931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 dirty="0">
              <a:solidFill>
                <a:srgbClr val="111111"/>
              </a:solidFill>
              <a:latin typeface="Montserrat" pitchFamily="2" charset="0"/>
            </a:rPr>
            <a:t> </a:t>
          </a:r>
          <a:r>
            <a:rPr lang="pt-BR" sz="2800" b="0" kern="1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rPr>
            <a:t>Inicial e Reciclagem: 08 horas de treinamento</a:t>
          </a:r>
        </a:p>
      </dsp:txBody>
      <dsp:txXfrm>
        <a:off x="5102355" y="3823380"/>
        <a:ext cx="2388307" cy="22198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EC277A6F-7963-AB6E-049C-64866BA62A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FF8FC2C-7D97-C738-87FF-95ED0C1937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4DBF24-C2F5-493D-BCF8-2DBE0E5DA0B9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6B11BD4-EAE6-9FA9-A378-DD23B0179F9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23CC313-0D0B-7FFD-D796-7D15493F20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B15884-89FA-4A88-8AAE-5892DC6E51A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36856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ontserrat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ontserrat" panose="00000500000000000000" pitchFamily="2" charset="0"/>
              </a:defRPr>
            </a:lvl1pPr>
          </a:lstStyle>
          <a:p>
            <a:fld id="{EFC10EE1-B198-C942-8235-326C972CBB30}" type="datetimeFigureOut">
              <a:rPr lang="en-US" smtClean="0"/>
              <a:pPr/>
              <a:t>2/26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ontserrat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ontserrat" panose="00000500000000000000" pitchFamily="2" charset="0"/>
              </a:defRPr>
            </a:lvl1pPr>
          </a:lstStyle>
          <a:p>
            <a:fld id="{006BE02D-20C0-F840-AFAC-BEA99C74FDC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1pPr>
    <a:lvl2pPr marL="914217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2pPr>
    <a:lvl3pPr marL="1828434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3pPr>
    <a:lvl4pPr marL="2742651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4pPr>
    <a:lvl5pPr marL="3656868" algn="l" defTabSz="914217" rtl="0" eaLnBrk="1" latinLnBrk="0" hangingPunct="1">
      <a:defRPr sz="2400" b="0" i="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255132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4182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67492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17152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07037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07037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10951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06400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98498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F50AEB-D77D-42AD-353C-C2E2EF9505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8E04237-5DEB-A806-F88E-668B2D7838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56E178A-FC84-015E-8302-A1F9484589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42666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D5F935-691F-C1B5-7C5C-5944B4D023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B19C97AC-BED3-DB13-2D03-45A1C56AA7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8A1A665-57BF-4EF1-44B7-C34451B47F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6383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060E3-CDC2-8BE9-109E-830409F5D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F99B68E9-AB4C-3CBD-135B-0853437789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E2B9668D-9867-0593-1C53-5B6EC1844A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61703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33299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28489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30777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777131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298215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0277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360170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59065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040569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4763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2324AA-EF77-9328-658E-67328DA00F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0C48FB97-81EA-B6F7-290B-8110754355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DC29C004-F5F7-0BB8-EB7D-A6D90322A6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636552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64467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63320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02650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75616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3700729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31174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551526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733809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209506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3735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551106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815817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252326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626508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01613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802327-4D59-DF11-CDE9-3E2B47C4D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388851DC-A6D7-C2E2-9BC8-0F13D37F87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22680DDC-0AD6-66B8-C8C1-274C464670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272312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7235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12376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9609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75522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93653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59927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10" Type="http://schemas.openxmlformats.org/officeDocument/2006/relationships/image" Target="../media/image4.svg"/><Relationship Id="rId4" Type="http://schemas.openxmlformats.org/officeDocument/2006/relationships/tags" Target="../tags/tag24.xml"/><Relationship Id="rId9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.xml"/><Relationship Id="rId7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10" Type="http://schemas.openxmlformats.org/officeDocument/2006/relationships/image" Target="../media/image4.svg"/><Relationship Id="rId4" Type="http://schemas.openxmlformats.org/officeDocument/2006/relationships/tags" Target="../tags/tag29.xml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5.emf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1.emf"/><Relationship Id="rId4" Type="http://schemas.openxmlformats.org/officeDocument/2006/relationships/tags" Target="../tags/tag41.xml"/><Relationship Id="rId9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7.xml"/><Relationship Id="rId7" Type="http://schemas.openxmlformats.org/officeDocument/2006/relationships/oleObject" Target="../embeddings/oleObject4.bin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2.xml"/><Relationship Id="rId7" Type="http://schemas.openxmlformats.org/officeDocument/2006/relationships/oleObject" Target="../embeddings/oleObject5.bin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8.emf"/><Relationship Id="rId4" Type="http://schemas.openxmlformats.org/officeDocument/2006/relationships/tags" Target="../tags/tag64.xml"/><Relationship Id="rId9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image" Target="../media/image1.emf"/><Relationship Id="rId4" Type="http://schemas.openxmlformats.org/officeDocument/2006/relationships/tags" Target="../tags/tag71.xml"/><Relationship Id="rId9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10" Type="http://schemas.openxmlformats.org/officeDocument/2006/relationships/image" Target="../media/image1.emf"/><Relationship Id="rId4" Type="http://schemas.openxmlformats.org/officeDocument/2006/relationships/tags" Target="../tags/tag85.xml"/><Relationship Id="rId9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10" Type="http://schemas.openxmlformats.org/officeDocument/2006/relationships/image" Target="../media/image1.emf"/><Relationship Id="rId4" Type="http://schemas.openxmlformats.org/officeDocument/2006/relationships/tags" Target="../tags/tag92.xml"/><Relationship Id="rId9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image" Target="../media/image1.emf"/><Relationship Id="rId4" Type="http://schemas.openxmlformats.org/officeDocument/2006/relationships/tags" Target="../tags/tag106.xml"/><Relationship Id="rId9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10" Type="http://schemas.openxmlformats.org/officeDocument/2006/relationships/image" Target="../media/image9.emf"/><Relationship Id="rId4" Type="http://schemas.openxmlformats.org/officeDocument/2006/relationships/tags" Target="../tags/tag113.xml"/><Relationship Id="rId9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10" Type="http://schemas.openxmlformats.org/officeDocument/2006/relationships/image" Target="../media/image9.emf"/><Relationship Id="rId4" Type="http://schemas.openxmlformats.org/officeDocument/2006/relationships/tags" Target="../tags/tag120.xml"/><Relationship Id="rId9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10" Type="http://schemas.openxmlformats.org/officeDocument/2006/relationships/image" Target="../media/image1.emf"/><Relationship Id="rId4" Type="http://schemas.openxmlformats.org/officeDocument/2006/relationships/tags" Target="../tags/tag127.xml"/><Relationship Id="rId9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10" Type="http://schemas.openxmlformats.org/officeDocument/2006/relationships/image" Target="../media/image1.emf"/><Relationship Id="rId4" Type="http://schemas.openxmlformats.org/officeDocument/2006/relationships/tags" Target="../tags/tag134.xml"/><Relationship Id="rId9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40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2.xml"/><Relationship Id="rId4" Type="http://schemas.openxmlformats.org/officeDocument/2006/relationships/tags" Target="../tags/tag141.xml"/><Relationship Id="rId9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4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0.xml"/><Relationship Id="rId7" Type="http://schemas.openxmlformats.org/officeDocument/2006/relationships/image" Target="../media/image11.emf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11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58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0.xml"/><Relationship Id="rId4" Type="http://schemas.openxmlformats.org/officeDocument/2006/relationships/tags" Target="../tags/tag159.xml"/><Relationship Id="rId9" Type="http://schemas.openxmlformats.org/officeDocument/2006/relationships/image" Target="../media/image1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sv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1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7.svg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528FB2-431B-F18B-BEC1-E9CE9530B7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206" y="2244726"/>
            <a:ext cx="18283238" cy="4775200"/>
          </a:xfrm>
        </p:spPr>
        <p:txBody>
          <a:bodyPr anchor="b"/>
          <a:lstStyle>
            <a:lvl1pPr algn="ctr"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2CEC589-BDFA-8CD1-7A8F-A78BDF7E9D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7206" y="7204076"/>
            <a:ext cx="18283238" cy="3311524"/>
          </a:xfrm>
        </p:spPr>
        <p:txBody>
          <a:bodyPr/>
          <a:lstStyle>
            <a:lvl1pPr marL="0" indent="0" algn="ctr">
              <a:buNone/>
              <a:defRPr sz="4799"/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DD45CE9-FCF0-E9C0-D301-E63C7A1BA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11CB031-4013-93F2-5950-187128C2B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DD3C0F8-4C8C-2354-8E0E-BE0BE6FEF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6872018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D8F3E5-FEF0-B97B-2D70-D97FEBBB6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52F8602-E6D8-0F8C-21F9-59FC836FCC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3CD698A-C94B-5A55-5D5E-28CC8FD966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0F10D1E-EFEA-45BA-4F00-38A531FA6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7982F57-B83D-C641-2B9A-62C4E6B53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2365826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C242DC1-70A7-2137-7826-700BE2370B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5256" y="730250"/>
            <a:ext cx="5256431" cy="11623676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35790E8-C3FD-0C4D-2E84-D770A95E42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5963" y="730250"/>
            <a:ext cx="15464572" cy="11623676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63A69A5-BB74-4055-68D0-1817BF6F6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4AF7D6A-ABF0-B297-A819-D78A3657A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01D2541-6B34-AF45-B9AD-A7F121A0D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8925224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5833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3FA541B-4C7A-E45E-3775-6FC4C5F8B9B3}"/>
              </a:ext>
            </a:extLst>
          </p:cNvPr>
          <p:cNvSpPr/>
          <p:nvPr userDrawn="1"/>
        </p:nvSpPr>
        <p:spPr>
          <a:xfrm>
            <a:off x="2" y="3424401"/>
            <a:ext cx="24377650" cy="1029159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B2EA7A-3000-BFC8-4459-C6C89FECA32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3598" y="1352817"/>
            <a:ext cx="3053962" cy="718766"/>
          </a:xfrm>
          <a:prstGeom prst="rect">
            <a:avLst/>
          </a:prstGeom>
        </p:spPr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109184" y="10849138"/>
            <a:ext cx="8750759" cy="43088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27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231718" indent="0">
              <a:buNone/>
              <a:defRPr>
                <a:solidFill>
                  <a:schemeClr val="bg1"/>
                </a:solidFill>
              </a:defRPr>
            </a:lvl2pPr>
            <a:lvl3pPr marL="932455" indent="0">
              <a:buNone/>
              <a:defRPr>
                <a:solidFill>
                  <a:schemeClr val="bg1"/>
                </a:solidFill>
              </a:defRPr>
            </a:lvl3pPr>
            <a:lvl4pPr marL="1627225" indent="0">
              <a:buNone/>
              <a:defRPr>
                <a:solidFill>
                  <a:schemeClr val="bg1"/>
                </a:solidFill>
              </a:defRPr>
            </a:lvl4pPr>
            <a:lvl5pPr marL="232199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103597" y="10013921"/>
            <a:ext cx="8750759" cy="61555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39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3597" y="5928412"/>
            <a:ext cx="8750759" cy="384341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 sz="9598" b="1" baseline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2F774CF-E015-C3EF-81AD-D3C434CD93D5}"/>
              </a:ext>
            </a:extLst>
          </p:cNvPr>
          <p:cNvGrpSpPr/>
          <p:nvPr userDrawn="1"/>
        </p:nvGrpSpPr>
        <p:grpSpPr>
          <a:xfrm>
            <a:off x="11527585" y="1"/>
            <a:ext cx="11740882" cy="13715990"/>
            <a:chOff x="5765294" y="0"/>
            <a:chExt cx="5871970" cy="6857995"/>
          </a:xfrm>
        </p:grpSpPr>
        <p:sp>
          <p:nvSpPr>
            <p:cNvPr id="5" name="Snip Same Side Corner Rectangle 4">
              <a:extLst>
                <a:ext uri="{FF2B5EF4-FFF2-40B4-BE49-F238E27FC236}">
                  <a16:creationId xmlns:a16="http://schemas.microsoft.com/office/drawing/2014/main" id="{0FF1489B-A778-33A5-3ABA-3440F134D2F4}"/>
                </a:ext>
              </a:extLst>
            </p:cNvPr>
            <p:cNvSpPr/>
            <p:nvPr userDrawn="1"/>
          </p:nvSpPr>
          <p:spPr>
            <a:xfrm rot="10800000">
              <a:off x="5765296" y="5136609"/>
              <a:ext cx="5871968" cy="1721386"/>
            </a:xfrm>
            <a:prstGeom prst="snip2SameRect">
              <a:avLst>
                <a:gd name="adj1" fmla="val 43077"/>
                <a:gd name="adj2" fmla="val 0"/>
              </a:avLst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Snip Same Side Corner Rectangle 5">
              <a:extLst>
                <a:ext uri="{FF2B5EF4-FFF2-40B4-BE49-F238E27FC236}">
                  <a16:creationId xmlns:a16="http://schemas.microsoft.com/office/drawing/2014/main" id="{78CA1844-01B1-94CE-AEF8-1EEE768646FC}"/>
                </a:ext>
              </a:extLst>
            </p:cNvPr>
            <p:cNvSpPr/>
            <p:nvPr userDrawn="1"/>
          </p:nvSpPr>
          <p:spPr>
            <a:xfrm rot="10800000">
              <a:off x="5765294" y="3415220"/>
              <a:ext cx="2929631" cy="1721386"/>
            </a:xfrm>
            <a:prstGeom prst="snip2SameRect">
              <a:avLst>
                <a:gd name="adj1" fmla="val 26341"/>
                <a:gd name="adj2" fmla="val 0"/>
              </a:avLst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Snip Same Side Corner Rectangle 6">
              <a:extLst>
                <a:ext uri="{FF2B5EF4-FFF2-40B4-BE49-F238E27FC236}">
                  <a16:creationId xmlns:a16="http://schemas.microsoft.com/office/drawing/2014/main" id="{AE26C0DB-1927-0778-5EE0-5F046005BB0A}"/>
                </a:ext>
              </a:extLst>
            </p:cNvPr>
            <p:cNvSpPr/>
            <p:nvPr userDrawn="1"/>
          </p:nvSpPr>
          <p:spPr>
            <a:xfrm rot="10800000">
              <a:off x="5765296" y="1712203"/>
              <a:ext cx="5871968" cy="1703017"/>
            </a:xfrm>
            <a:prstGeom prst="snip2SameRect">
              <a:avLst>
                <a:gd name="adj1" fmla="val 46200"/>
                <a:gd name="adj2" fmla="val 0"/>
              </a:avLst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Snip Same Side Corner Rectangle 9">
              <a:extLst>
                <a:ext uri="{FF2B5EF4-FFF2-40B4-BE49-F238E27FC236}">
                  <a16:creationId xmlns:a16="http://schemas.microsoft.com/office/drawing/2014/main" id="{5A7D6687-C5A7-0562-34FE-5A22227E7EB7}"/>
                </a:ext>
              </a:extLst>
            </p:cNvPr>
            <p:cNvSpPr/>
            <p:nvPr userDrawn="1"/>
          </p:nvSpPr>
          <p:spPr>
            <a:xfrm rot="10800000">
              <a:off x="8707632" y="0"/>
              <a:ext cx="2929629" cy="1712200"/>
            </a:xfrm>
            <a:prstGeom prst="snip2SameRect">
              <a:avLst>
                <a:gd name="adj1" fmla="val 26341"/>
                <a:gd name="adj2" fmla="val 0"/>
              </a:avLst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Snip Same Side Corner Rectangle 11">
              <a:extLst>
                <a:ext uri="{FF2B5EF4-FFF2-40B4-BE49-F238E27FC236}">
                  <a16:creationId xmlns:a16="http://schemas.microsoft.com/office/drawing/2014/main" id="{B14B7018-C1C5-D5C6-9444-E61E668E6F47}"/>
                </a:ext>
              </a:extLst>
            </p:cNvPr>
            <p:cNvSpPr/>
            <p:nvPr userDrawn="1"/>
          </p:nvSpPr>
          <p:spPr>
            <a:xfrm rot="10800000">
              <a:off x="8694926" y="3415220"/>
              <a:ext cx="2942338" cy="1721387"/>
            </a:xfrm>
            <a:prstGeom prst="snip2SameRect">
              <a:avLst>
                <a:gd name="adj1" fmla="val 26341"/>
                <a:gd name="adj2" fmla="val 0"/>
              </a:avLst>
            </a:prstGeom>
            <a:solidFill>
              <a:schemeClr val="accent6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9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6256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3FA541B-4C7A-E45E-3775-6FC4C5F8B9B3}"/>
              </a:ext>
            </a:extLst>
          </p:cNvPr>
          <p:cNvSpPr/>
          <p:nvPr userDrawn="1"/>
        </p:nvSpPr>
        <p:spPr>
          <a:xfrm>
            <a:off x="2" y="3442773"/>
            <a:ext cx="24377650" cy="1027322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B2EA7A-3000-BFC8-4459-C6C89FECA32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3598" y="1352817"/>
            <a:ext cx="3053962" cy="718766"/>
          </a:xfrm>
          <a:prstGeom prst="rect">
            <a:avLst/>
          </a:prstGeom>
        </p:spPr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109184" y="10849138"/>
            <a:ext cx="8750759" cy="43088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27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231718" indent="0">
              <a:buNone/>
              <a:defRPr>
                <a:solidFill>
                  <a:schemeClr val="bg1"/>
                </a:solidFill>
              </a:defRPr>
            </a:lvl2pPr>
            <a:lvl3pPr marL="932455" indent="0">
              <a:buNone/>
              <a:defRPr>
                <a:solidFill>
                  <a:schemeClr val="bg1"/>
                </a:solidFill>
              </a:defRPr>
            </a:lvl3pPr>
            <a:lvl4pPr marL="1627225" indent="0">
              <a:buNone/>
              <a:defRPr>
                <a:solidFill>
                  <a:schemeClr val="bg1"/>
                </a:solidFill>
              </a:defRPr>
            </a:lvl4pPr>
            <a:lvl5pPr marL="232199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103597" y="10013921"/>
            <a:ext cx="8750759" cy="61555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3999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3597" y="5928412"/>
            <a:ext cx="8750759" cy="384341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 sz="9598" b="1" baseline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C67B752-702C-A673-A08A-E98E8907580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527587" y="1352816"/>
            <a:ext cx="11740870" cy="11355792"/>
          </a:xfrm>
          <a:custGeom>
            <a:avLst/>
            <a:gdLst>
              <a:gd name="connsiteX0" fmla="*/ 0 w 5871964"/>
              <a:gd name="connsiteY0" fmla="*/ 0 h 6354303"/>
              <a:gd name="connsiteX1" fmla="*/ 5871964 w 5871964"/>
              <a:gd name="connsiteY1" fmla="*/ 0 h 6354303"/>
              <a:gd name="connsiteX2" fmla="*/ 5871964 w 5871964"/>
              <a:gd name="connsiteY2" fmla="*/ 5555716 h 6354303"/>
              <a:gd name="connsiteX3" fmla="*/ 5073377 w 5871964"/>
              <a:gd name="connsiteY3" fmla="*/ 6354303 h 6354303"/>
              <a:gd name="connsiteX4" fmla="*/ 798587 w 5871964"/>
              <a:gd name="connsiteY4" fmla="*/ 6354303 h 6354303"/>
              <a:gd name="connsiteX5" fmla="*/ 0 w 5871964"/>
              <a:gd name="connsiteY5" fmla="*/ 5555716 h 6354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71964" h="6354303">
                <a:moveTo>
                  <a:pt x="0" y="0"/>
                </a:moveTo>
                <a:lnTo>
                  <a:pt x="5871964" y="0"/>
                </a:lnTo>
                <a:lnTo>
                  <a:pt x="5871964" y="5555716"/>
                </a:lnTo>
                <a:lnTo>
                  <a:pt x="5073377" y="6354303"/>
                </a:lnTo>
                <a:lnTo>
                  <a:pt x="798587" y="6354303"/>
                </a:lnTo>
                <a:lnTo>
                  <a:pt x="0" y="555571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55165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64744"/>
            <a:ext cx="22159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2215928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BAEBBEAF-08F8-4AC6-8633-81A49845D9D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11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568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fau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64744"/>
            <a:ext cx="22159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22159284" cy="553998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DCC53E41-32E6-4533-B262-2B4A1036C6E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69940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AD8960-AAEB-94D7-3A48-958DE7FE0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AD8960-AAEB-94D7-3A48-958DE7FE0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09183" y="3413126"/>
            <a:ext cx="7624110" cy="138988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585A2672-C3F6-488D-8FBC-1F646D2E97B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7255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00DF9B-72F1-5B16-F46F-98B56E5C3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00DF9B-72F1-5B16-F46F-98B56E5C3C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nip Same Side Corner Rectangle 16">
            <a:extLst>
              <a:ext uri="{FF2B5EF4-FFF2-40B4-BE49-F238E27FC236}">
                <a16:creationId xmlns:a16="http://schemas.microsoft.com/office/drawing/2014/main" id="{CA81DEE3-E5B8-9797-2EF7-63380D808248}"/>
              </a:ext>
            </a:extLst>
          </p:cNvPr>
          <p:cNvSpPr/>
          <p:nvPr userDrawn="1"/>
        </p:nvSpPr>
        <p:spPr>
          <a:xfrm rot="10800000">
            <a:off x="677931" y="5136614"/>
            <a:ext cx="10412296" cy="3442772"/>
          </a:xfrm>
          <a:prstGeom prst="snip2SameRect">
            <a:avLst>
              <a:gd name="adj1" fmla="val 29797"/>
              <a:gd name="adj2" fmla="val 0"/>
            </a:avLst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09183" y="6088561"/>
            <a:ext cx="7791866" cy="1538882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 sz="6398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F7CD1C9-C8A5-C7CC-DC9D-38196F8D4C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740877" y="1352816"/>
            <a:ext cx="11527579" cy="11355792"/>
          </a:xfrm>
          <a:custGeom>
            <a:avLst/>
            <a:gdLst>
              <a:gd name="connsiteX0" fmla="*/ 0 w 5871964"/>
              <a:gd name="connsiteY0" fmla="*/ 0 h 6354303"/>
              <a:gd name="connsiteX1" fmla="*/ 5871964 w 5871964"/>
              <a:gd name="connsiteY1" fmla="*/ 0 h 6354303"/>
              <a:gd name="connsiteX2" fmla="*/ 5871964 w 5871964"/>
              <a:gd name="connsiteY2" fmla="*/ 5555716 h 6354303"/>
              <a:gd name="connsiteX3" fmla="*/ 5073377 w 5871964"/>
              <a:gd name="connsiteY3" fmla="*/ 6354303 h 6354303"/>
              <a:gd name="connsiteX4" fmla="*/ 798587 w 5871964"/>
              <a:gd name="connsiteY4" fmla="*/ 6354303 h 6354303"/>
              <a:gd name="connsiteX5" fmla="*/ 0 w 5871964"/>
              <a:gd name="connsiteY5" fmla="*/ 5555716 h 6354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71964" h="6354303">
                <a:moveTo>
                  <a:pt x="0" y="0"/>
                </a:moveTo>
                <a:lnTo>
                  <a:pt x="5871964" y="0"/>
                </a:lnTo>
                <a:lnTo>
                  <a:pt x="5871964" y="5555716"/>
                </a:lnTo>
                <a:lnTo>
                  <a:pt x="5073377" y="6354303"/>
                </a:lnTo>
                <a:lnTo>
                  <a:pt x="798587" y="6354303"/>
                </a:lnTo>
                <a:lnTo>
                  <a:pt x="0" y="555571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9779C69-3606-3487-962B-6141EB85476B}"/>
              </a:ext>
            </a:extLst>
          </p:cNvPr>
          <p:cNvSpPr/>
          <p:nvPr userDrawn="1"/>
        </p:nvSpPr>
        <p:spPr>
          <a:xfrm>
            <a:off x="677930" y="2542130"/>
            <a:ext cx="2593808" cy="2594484"/>
          </a:xfrm>
          <a:prstGeom prst="rect">
            <a:avLst/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63A19E64-8FA8-4704-8465-687CA1FBCBC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71300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9160936"/>
            <a:ext cx="22159284" cy="1354216"/>
          </a:xfrm>
        </p:spPr>
        <p:txBody>
          <a:bodyPr vert="horz" anchor="b">
            <a:noAutofit/>
          </a:bodyPr>
          <a:lstStyle>
            <a:lvl1pPr>
              <a:lnSpc>
                <a:spcPct val="93000"/>
              </a:lnSpc>
              <a:defRPr sz="879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9CCC1179-CDBA-4236-BA3E-0405160EE3D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10558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475D6A-338C-13D3-8BED-1DCA4C0CF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A4499F3-66D4-830D-975B-866C53400E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3A62BD8-9EB5-A838-3A37-710036EA7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D4D6664-1215-C516-CF02-467C24BBC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8461C8D-D9FF-C995-B736-922D67A75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4523651"/>
      </p:ext>
    </p:extLst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6798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10640" y="7185682"/>
            <a:ext cx="18356370" cy="973216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93000"/>
              </a:lnSpc>
              <a:defRPr sz="679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010640" y="8569261"/>
            <a:ext cx="18356370" cy="553998"/>
          </a:xfrm>
        </p:spPr>
        <p:txBody>
          <a:bodyPr wrap="square">
            <a:no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F8396444-8A1D-4394-BDA7-C8222FAA1E6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080768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382B5DD-DC88-CEEE-E788-D847FA43F50D}"/>
              </a:ext>
            </a:extLst>
          </p:cNvPr>
          <p:cNvSpPr/>
          <p:nvPr userDrawn="1"/>
        </p:nvSpPr>
        <p:spPr>
          <a:xfrm rot="10800000">
            <a:off x="6861057" y="-5"/>
            <a:ext cx="17516593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5027890" cy="1538882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7319289"/>
            <a:ext cx="5027890" cy="984886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A0B6313C-1CB2-434C-A65E-4DC43EFA50B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076435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382B5DD-DC88-CEEE-E788-D847FA43F50D}"/>
              </a:ext>
            </a:extLst>
          </p:cNvPr>
          <p:cNvSpPr/>
          <p:nvPr userDrawn="1"/>
        </p:nvSpPr>
        <p:spPr>
          <a:xfrm rot="10800000">
            <a:off x="6861057" y="-5"/>
            <a:ext cx="17516593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5027890" cy="1538882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7319289"/>
            <a:ext cx="5027890" cy="984886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368666FD-D182-4F89-B708-8BB5BED1741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452709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650F51F-B240-A1D7-D0F9-A6D6A1BD1EDD}"/>
              </a:ext>
            </a:extLst>
          </p:cNvPr>
          <p:cNvSpPr/>
          <p:nvPr userDrawn="1"/>
        </p:nvSpPr>
        <p:spPr>
          <a:xfrm rot="10800000">
            <a:off x="8727199" y="-7"/>
            <a:ext cx="15650451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6929347" cy="153888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2" y="7319289"/>
            <a:ext cx="6929345" cy="492442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665D68A1-8DBB-4088-ACAB-EF683F72852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47349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650F51F-B240-A1D7-D0F9-A6D6A1BD1EDD}"/>
              </a:ext>
            </a:extLst>
          </p:cNvPr>
          <p:cNvSpPr/>
          <p:nvPr userDrawn="1"/>
        </p:nvSpPr>
        <p:spPr>
          <a:xfrm rot="10800000">
            <a:off x="8727199" y="-7"/>
            <a:ext cx="15650451" cy="13716002"/>
          </a:xfrm>
          <a:prstGeom prst="snip2SameRect">
            <a:avLst>
              <a:gd name="adj1" fmla="val 9305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5488739"/>
            <a:ext cx="6929347" cy="153888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2" y="7319289"/>
            <a:ext cx="6929345" cy="492442"/>
          </a:xfrm>
        </p:spPr>
        <p:txBody>
          <a:bodyPr wrap="square">
            <a:spAutoFit/>
          </a:bodyPr>
          <a:lstStyle>
            <a:lvl1pPr marL="0" indent="0" algn="l">
              <a:buNone/>
              <a:defRPr sz="3199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914127" indent="0" algn="ctr">
              <a:buNone/>
              <a:defRPr sz="3999"/>
            </a:lvl2pPr>
            <a:lvl3pPr marL="1828251" indent="0" algn="ctr">
              <a:buNone/>
              <a:defRPr sz="3599"/>
            </a:lvl3pPr>
            <a:lvl4pPr marL="2742378" indent="0" algn="ctr">
              <a:buNone/>
              <a:defRPr sz="3199"/>
            </a:lvl4pPr>
            <a:lvl5pPr marL="3656504" indent="0" algn="ctr">
              <a:buNone/>
              <a:defRPr sz="3199"/>
            </a:lvl5pPr>
            <a:lvl6pPr marL="4570629" indent="0" algn="ctr">
              <a:buNone/>
              <a:defRPr sz="3199"/>
            </a:lvl6pPr>
            <a:lvl7pPr marL="5484752" indent="0" algn="ctr">
              <a:buNone/>
              <a:defRPr sz="3199"/>
            </a:lvl7pPr>
            <a:lvl8pPr marL="6398880" indent="0" algn="ctr">
              <a:buNone/>
              <a:defRPr sz="3199"/>
            </a:lvl8pPr>
            <a:lvl9pPr marL="7313007" indent="0" algn="ctr">
              <a:buNone/>
              <a:defRPr sz="3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D78F9C50-0199-4A7B-AFF0-FADF3A077AE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640272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C72D7ED-0F46-0C84-628C-9EFDF9F14BAD}"/>
              </a:ext>
            </a:extLst>
          </p:cNvPr>
          <p:cNvSpPr/>
          <p:nvPr userDrawn="1"/>
        </p:nvSpPr>
        <p:spPr>
          <a:xfrm rot="10800000">
            <a:off x="12182731" y="-9"/>
            <a:ext cx="12194919" cy="13716002"/>
          </a:xfrm>
          <a:prstGeom prst="snip2SameRect">
            <a:avLst>
              <a:gd name="adj1" fmla="val 10332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012891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012891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7C473868-9CCF-48A9-B298-8FBFAE9BB35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601694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DC72D7ED-0F46-0C84-628C-9EFDF9F14BAD}"/>
              </a:ext>
            </a:extLst>
          </p:cNvPr>
          <p:cNvSpPr/>
          <p:nvPr userDrawn="1"/>
        </p:nvSpPr>
        <p:spPr>
          <a:xfrm rot="10800000">
            <a:off x="12182731" y="-9"/>
            <a:ext cx="12194919" cy="13716002"/>
          </a:xfrm>
          <a:prstGeom prst="snip2SameRect">
            <a:avLst>
              <a:gd name="adj1" fmla="val 10332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012891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012891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1C4784F9-F314-4646-B79A-402D484CE5B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635568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234EFED-7FB0-6FFC-11CE-E485C348628B}"/>
              </a:ext>
            </a:extLst>
          </p:cNvPr>
          <p:cNvSpPr/>
          <p:nvPr userDrawn="1"/>
        </p:nvSpPr>
        <p:spPr>
          <a:xfrm rot="10800000">
            <a:off x="15656546" y="-11"/>
            <a:ext cx="8721104" cy="13716002"/>
          </a:xfrm>
          <a:prstGeom prst="snip2SameRect">
            <a:avLst>
              <a:gd name="adj1" fmla="val 14640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364744"/>
            <a:ext cx="13931827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1807723"/>
            <a:ext cx="13931827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16342484" y="157537"/>
            <a:ext cx="6932076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32A1D64D-41E8-4C94-934A-BC782201CEE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3931829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39330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6234EFED-7FB0-6FFC-11CE-E485C348628B}"/>
              </a:ext>
            </a:extLst>
          </p:cNvPr>
          <p:cNvSpPr/>
          <p:nvPr userDrawn="1"/>
        </p:nvSpPr>
        <p:spPr>
          <a:xfrm rot="10800000">
            <a:off x="15656546" y="-11"/>
            <a:ext cx="8721104" cy="13716002"/>
          </a:xfrm>
          <a:prstGeom prst="snip2SameRect">
            <a:avLst>
              <a:gd name="adj1" fmla="val 14640"/>
              <a:gd name="adj2" fmla="val 0"/>
            </a:avLst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09183" y="364744"/>
            <a:ext cx="13931827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09183" y="1807723"/>
            <a:ext cx="13931827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16342484" y="157537"/>
            <a:ext cx="6932076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D18E90AF-AE44-49C1-B742-1BC7F5EF62E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3931829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97164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7C351D60-9791-17A5-6F5C-F979F7E5D57F}"/>
              </a:ext>
            </a:extLst>
          </p:cNvPr>
          <p:cNvSpPr/>
          <p:nvPr userDrawn="1"/>
        </p:nvSpPr>
        <p:spPr>
          <a:xfrm rot="10800000">
            <a:off x="17558258" y="-13"/>
            <a:ext cx="6819392" cy="13716002"/>
          </a:xfrm>
          <a:prstGeom prst="snip2SameRect">
            <a:avLst>
              <a:gd name="adj1" fmla="val 17578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8234971" y="157537"/>
            <a:ext cx="5039589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5833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583328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5AE907C3-8DCB-48C7-9309-F3A34577EB6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7828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65DC58-1015-03A4-C867-9D2BBDA22F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267" y="3419477"/>
            <a:ext cx="21025723" cy="5705474"/>
          </a:xfrm>
        </p:spPr>
        <p:txBody>
          <a:bodyPr anchor="b"/>
          <a:lstStyle>
            <a:lvl1pPr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7097500-C046-E3E5-FCB4-7150E9CA20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267" y="9178927"/>
            <a:ext cx="21025723" cy="3000374"/>
          </a:xfrm>
        </p:spPr>
        <p:txBody>
          <a:bodyPr/>
          <a:lstStyle>
            <a:lvl1pPr marL="0" indent="0">
              <a:buNone/>
              <a:defRPr sz="4799">
                <a:solidFill>
                  <a:schemeClr val="tx1">
                    <a:tint val="75000"/>
                  </a:schemeClr>
                </a:solidFill>
              </a:defRPr>
            </a:lvl1pPr>
            <a:lvl2pPr marL="914171" indent="0">
              <a:buNone/>
              <a:defRPr sz="3999">
                <a:solidFill>
                  <a:schemeClr val="tx1">
                    <a:tint val="75000"/>
                  </a:schemeClr>
                </a:solidFill>
              </a:defRPr>
            </a:lvl2pPr>
            <a:lvl3pPr marL="1828343" indent="0">
              <a:buNone/>
              <a:defRPr sz="3599">
                <a:solidFill>
                  <a:schemeClr val="tx1">
                    <a:tint val="75000"/>
                  </a:schemeClr>
                </a:solidFill>
              </a:defRPr>
            </a:lvl3pPr>
            <a:lvl4pPr marL="2742514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4pPr>
            <a:lvl5pPr marL="3656686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5pPr>
            <a:lvl6pPr marL="4570857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6pPr>
            <a:lvl7pPr marL="5485028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7pPr>
            <a:lvl8pPr marL="6399200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8pPr>
            <a:lvl9pPr marL="7313371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E23A09-3F08-DB10-EDE5-4E0957D34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C40A77D-FDB6-0118-316C-ABE732B6A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EDC3BA3-6E3F-D307-3AE4-E20AE2BC0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6653350"/>
      </p:ext>
    </p:extLst>
  </p:cSld>
  <p:clrMapOvr>
    <a:masterClrMapping/>
  </p:clrMapOvr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3/4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7C351D60-9791-17A5-6F5C-F979F7E5D57F}"/>
              </a:ext>
            </a:extLst>
          </p:cNvPr>
          <p:cNvSpPr/>
          <p:nvPr userDrawn="1"/>
        </p:nvSpPr>
        <p:spPr>
          <a:xfrm rot="10800000">
            <a:off x="17558258" y="-13"/>
            <a:ext cx="6819392" cy="13716002"/>
          </a:xfrm>
          <a:prstGeom prst="snip2SameRect">
            <a:avLst>
              <a:gd name="adj1" fmla="val 17578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8234971" y="157537"/>
            <a:ext cx="5039589" cy="246222"/>
          </a:xfrm>
        </p:spPr>
        <p:txBody>
          <a:bodyPr wrap="square"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09183" y="364744"/>
            <a:ext cx="15833284" cy="1463040"/>
          </a:xfrm>
        </p:spPr>
        <p:txBody>
          <a:bodyPr vert="horz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09183" y="1807723"/>
            <a:ext cx="15833284" cy="553998"/>
          </a:xfrm>
        </p:spPr>
        <p:txBody>
          <a:bodyPr anchor="ctr" anchorCtr="0"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 sz="3199"/>
              <a:t>Click to edit Master sub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13BDC4B1-AD02-42CE-93C3-03AD9057A26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008329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32DA2-9FC4-CA2A-EFF6-E6B9B82E51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32DA2-9FC4-CA2A-EFF6-E6B9B82E5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50342"/>
            <a:ext cx="22159284" cy="1979024"/>
          </a:xfrm>
        </p:spPr>
        <p:txBody>
          <a:bodyPr vert="horz">
            <a:noAutofit/>
          </a:bodyPr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B20F81B-E824-41F7-9AE5-3A79EE39C0A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1381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3-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32DA2-9FC4-CA2A-EFF6-E6B9B82E51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32DA2-9FC4-CA2A-EFF6-E6B9B82E5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09183" y="350342"/>
            <a:ext cx="22159284" cy="1979024"/>
          </a:xfrm>
        </p:spPr>
        <p:txBody>
          <a:bodyPr vert="horz">
            <a:noAutofit/>
          </a:bodyPr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05997F6-831A-4614-863B-F422775E070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233910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5499B3-EB14-A8EA-82EC-201E94B33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5499B3-EB14-A8EA-82EC-201E94B33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75C89ECC-AB37-4032-81EA-13B2E4C2B6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6957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us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5499B3-EB14-A8EA-82EC-201E94B33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5499B3-EB14-A8EA-82EC-201E94B33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9FFEC6F5-431C-4E19-BD13-8345F3A3D61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156914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op Le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7A8519-FB7B-B8C4-7957-7B71058F9B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6" y="3176"/>
          <a:ext cx="2453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7A8519-FB7B-B8C4-7957-7B71058F9B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2453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reeform 25">
            <a:extLst>
              <a:ext uri="{FF2B5EF4-FFF2-40B4-BE49-F238E27FC236}">
                <a16:creationId xmlns:a16="http://schemas.microsoft.com/office/drawing/2014/main" id="{F7020A06-67D0-E34E-1F59-37017448BAB5}"/>
              </a:ext>
            </a:extLst>
          </p:cNvPr>
          <p:cNvSpPr/>
          <p:nvPr userDrawn="1"/>
        </p:nvSpPr>
        <p:spPr>
          <a:xfrm rot="10800000">
            <a:off x="3" y="10058410"/>
            <a:ext cx="1857810" cy="3657588"/>
          </a:xfrm>
          <a:custGeom>
            <a:avLst/>
            <a:gdLst>
              <a:gd name="connsiteX0" fmla="*/ 929147 w 929147"/>
              <a:gd name="connsiteY0" fmla="*/ 1828794 h 1828794"/>
              <a:gd name="connsiteX1" fmla="*/ 0 w 929147"/>
              <a:gd name="connsiteY1" fmla="*/ 1828794 h 1828794"/>
              <a:gd name="connsiteX2" fmla="*/ 0 w 929147"/>
              <a:gd name="connsiteY2" fmla="*/ 787790 h 1828794"/>
              <a:gd name="connsiteX3" fmla="*/ 787790 w 929147"/>
              <a:gd name="connsiteY3" fmla="*/ 0 h 1828794"/>
              <a:gd name="connsiteX4" fmla="*/ 929147 w 929147"/>
              <a:gd name="connsiteY4" fmla="*/ 0 h 1828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147" h="1828794">
                <a:moveTo>
                  <a:pt x="929147" y="1828794"/>
                </a:moveTo>
                <a:lnTo>
                  <a:pt x="0" y="1828794"/>
                </a:lnTo>
                <a:lnTo>
                  <a:pt x="0" y="787790"/>
                </a:lnTo>
                <a:lnTo>
                  <a:pt x="787790" y="0"/>
                </a:lnTo>
                <a:lnTo>
                  <a:pt x="929147" y="0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22619159" y="12997507"/>
            <a:ext cx="65083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221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marL="0" marR="0" lvl="0" indent="0" algn="r" defTabSz="1221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376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4315775" y="157537"/>
            <a:ext cx="8958786" cy="246222"/>
          </a:xfrm>
        </p:spPr>
        <p:txBody>
          <a:bodyPr anchor="ctr" anchorCtr="0">
            <a:spAutoFit/>
          </a:bodyPr>
          <a:lstStyle>
            <a:lvl1pPr algn="r"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4" name="Snip Same Side Corner Rectangle 3">
            <a:extLst>
              <a:ext uri="{FF2B5EF4-FFF2-40B4-BE49-F238E27FC236}">
                <a16:creationId xmlns:a16="http://schemas.microsoft.com/office/drawing/2014/main" id="{8426FCB1-A9FF-6AED-EFB1-5C56EE871464}"/>
              </a:ext>
            </a:extLst>
          </p:cNvPr>
          <p:cNvSpPr/>
          <p:nvPr userDrawn="1"/>
        </p:nvSpPr>
        <p:spPr>
          <a:xfrm rot="10800000">
            <a:off x="9058512" y="10058400"/>
            <a:ext cx="15319138" cy="3657588"/>
          </a:xfrm>
          <a:prstGeom prst="snip2SameRect">
            <a:avLst>
              <a:gd name="adj1" fmla="val 43077"/>
              <a:gd name="adj2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D23F8454-7ABD-83B6-12AC-EB34A9631E6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760565" y="11155674"/>
            <a:ext cx="4475466" cy="1463040"/>
          </a:xfrm>
        </p:spPr>
        <p:txBody>
          <a:bodyPr vert="horz"/>
          <a:lstStyle>
            <a:lvl1pPr>
              <a:defRPr sz="7998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EEF9DF-9BCE-8450-66AD-F4CC357638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r="7200"/>
          <a:stretch/>
        </p:blipFill>
        <p:spPr>
          <a:xfrm>
            <a:off x="15950416" y="1080654"/>
            <a:ext cx="8427235" cy="1263533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DBE390-8B64-F9BD-0F18-9232A7967112}"/>
              </a:ext>
            </a:extLst>
          </p:cNvPr>
          <p:cNvSpPr/>
          <p:nvPr userDrawn="1"/>
        </p:nvSpPr>
        <p:spPr>
          <a:xfrm>
            <a:off x="1857813" y="10058401"/>
            <a:ext cx="7207049" cy="3657590"/>
          </a:xfrm>
          <a:prstGeom prst="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80BA1D56-CC80-4B73-8635-65A9F09EA54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202939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nip Same Side Corner Rectangle 2">
            <a:extLst>
              <a:ext uri="{FF2B5EF4-FFF2-40B4-BE49-F238E27FC236}">
                <a16:creationId xmlns:a16="http://schemas.microsoft.com/office/drawing/2014/main" id="{2727AC3F-F333-1566-EFF9-28E5B9B8E084}"/>
              </a:ext>
            </a:extLst>
          </p:cNvPr>
          <p:cNvSpPr/>
          <p:nvPr userDrawn="1"/>
        </p:nvSpPr>
        <p:spPr>
          <a:xfrm rot="10800000">
            <a:off x="11527589" y="10273218"/>
            <a:ext cx="11740878" cy="3442772"/>
          </a:xfrm>
          <a:prstGeom prst="snip2SameRect">
            <a:avLst>
              <a:gd name="adj1" fmla="val 43077"/>
              <a:gd name="adj2" fmla="val 0"/>
            </a:avLst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nip Same Side Corner Rectangle 4">
            <a:extLst>
              <a:ext uri="{FF2B5EF4-FFF2-40B4-BE49-F238E27FC236}">
                <a16:creationId xmlns:a16="http://schemas.microsoft.com/office/drawing/2014/main" id="{406E0C90-A0EF-E195-2F88-B151669C1636}"/>
              </a:ext>
            </a:extLst>
          </p:cNvPr>
          <p:cNvSpPr/>
          <p:nvPr userDrawn="1"/>
        </p:nvSpPr>
        <p:spPr>
          <a:xfrm rot="10800000">
            <a:off x="11527586" y="6830440"/>
            <a:ext cx="5857736" cy="3442772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nip Same Side Corner Rectangle 5">
            <a:extLst>
              <a:ext uri="{FF2B5EF4-FFF2-40B4-BE49-F238E27FC236}">
                <a16:creationId xmlns:a16="http://schemas.microsoft.com/office/drawing/2014/main" id="{50F71342-A042-E70B-691B-5AFC173B482C}"/>
              </a:ext>
            </a:extLst>
          </p:cNvPr>
          <p:cNvSpPr/>
          <p:nvPr userDrawn="1"/>
        </p:nvSpPr>
        <p:spPr>
          <a:xfrm rot="10800000">
            <a:off x="11527589" y="3424407"/>
            <a:ext cx="11740878" cy="3406034"/>
          </a:xfrm>
          <a:prstGeom prst="snip2SameRect">
            <a:avLst>
              <a:gd name="adj1" fmla="val 46200"/>
              <a:gd name="adj2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nip Same Side Corner Rectangle 6">
            <a:extLst>
              <a:ext uri="{FF2B5EF4-FFF2-40B4-BE49-F238E27FC236}">
                <a16:creationId xmlns:a16="http://schemas.microsoft.com/office/drawing/2014/main" id="{93C1A530-726A-22B9-4412-F3FC74137F51}"/>
              </a:ext>
            </a:extLst>
          </p:cNvPr>
          <p:cNvSpPr/>
          <p:nvPr userDrawn="1"/>
        </p:nvSpPr>
        <p:spPr>
          <a:xfrm rot="10800000">
            <a:off x="17410730" y="0"/>
            <a:ext cx="5857732" cy="3424400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nip Same Side Corner Rectangle 8">
            <a:extLst>
              <a:ext uri="{FF2B5EF4-FFF2-40B4-BE49-F238E27FC236}">
                <a16:creationId xmlns:a16="http://schemas.microsoft.com/office/drawing/2014/main" id="{8E52E448-F405-C9B4-BE43-E43CDEBA9A68}"/>
              </a:ext>
            </a:extLst>
          </p:cNvPr>
          <p:cNvSpPr/>
          <p:nvPr userDrawn="1"/>
        </p:nvSpPr>
        <p:spPr>
          <a:xfrm rot="10800000">
            <a:off x="17385323" y="6830441"/>
            <a:ext cx="5883144" cy="3442774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D9881AD-2233-6079-A3CB-AAB1F6AA64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56238" y="6003476"/>
            <a:ext cx="5458334" cy="1284644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90C8200-D06E-4EA3-9998-FD5B45CC68C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578815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0F7C7A73-16C2-9B03-CC1F-85C3B73BB3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56238" y="6003476"/>
            <a:ext cx="5458334" cy="1284644"/>
          </a:xfrm>
          <a:prstGeom prst="rect">
            <a:avLst/>
          </a:prstGeom>
        </p:spPr>
      </p:pic>
      <p:sp>
        <p:nvSpPr>
          <p:cNvPr id="3" name="Snip Same Side Corner Rectangle 2">
            <a:extLst>
              <a:ext uri="{FF2B5EF4-FFF2-40B4-BE49-F238E27FC236}">
                <a16:creationId xmlns:a16="http://schemas.microsoft.com/office/drawing/2014/main" id="{2727AC3F-F333-1566-EFF9-28E5B9B8E084}"/>
              </a:ext>
            </a:extLst>
          </p:cNvPr>
          <p:cNvSpPr/>
          <p:nvPr userDrawn="1"/>
        </p:nvSpPr>
        <p:spPr>
          <a:xfrm rot="10800000">
            <a:off x="11527589" y="10273218"/>
            <a:ext cx="11740878" cy="3442772"/>
          </a:xfrm>
          <a:prstGeom prst="snip2SameRect">
            <a:avLst>
              <a:gd name="adj1" fmla="val 43077"/>
              <a:gd name="adj2" fmla="val 0"/>
            </a:avLst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nip Same Side Corner Rectangle 4">
            <a:extLst>
              <a:ext uri="{FF2B5EF4-FFF2-40B4-BE49-F238E27FC236}">
                <a16:creationId xmlns:a16="http://schemas.microsoft.com/office/drawing/2014/main" id="{406E0C90-A0EF-E195-2F88-B151669C1636}"/>
              </a:ext>
            </a:extLst>
          </p:cNvPr>
          <p:cNvSpPr/>
          <p:nvPr userDrawn="1"/>
        </p:nvSpPr>
        <p:spPr>
          <a:xfrm rot="10800000">
            <a:off x="11527586" y="6830440"/>
            <a:ext cx="5857736" cy="3442772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nip Same Side Corner Rectangle 5">
            <a:extLst>
              <a:ext uri="{FF2B5EF4-FFF2-40B4-BE49-F238E27FC236}">
                <a16:creationId xmlns:a16="http://schemas.microsoft.com/office/drawing/2014/main" id="{50F71342-A042-E70B-691B-5AFC173B482C}"/>
              </a:ext>
            </a:extLst>
          </p:cNvPr>
          <p:cNvSpPr/>
          <p:nvPr userDrawn="1"/>
        </p:nvSpPr>
        <p:spPr>
          <a:xfrm rot="10800000">
            <a:off x="11527589" y="3424407"/>
            <a:ext cx="11740878" cy="3406034"/>
          </a:xfrm>
          <a:prstGeom prst="snip2SameRect">
            <a:avLst>
              <a:gd name="adj1" fmla="val 46200"/>
              <a:gd name="adj2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nip Same Side Corner Rectangle 6">
            <a:extLst>
              <a:ext uri="{FF2B5EF4-FFF2-40B4-BE49-F238E27FC236}">
                <a16:creationId xmlns:a16="http://schemas.microsoft.com/office/drawing/2014/main" id="{93C1A530-726A-22B9-4412-F3FC74137F51}"/>
              </a:ext>
            </a:extLst>
          </p:cNvPr>
          <p:cNvSpPr/>
          <p:nvPr userDrawn="1"/>
        </p:nvSpPr>
        <p:spPr>
          <a:xfrm rot="10800000">
            <a:off x="17410730" y="0"/>
            <a:ext cx="5857732" cy="3424400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nip Same Side Corner Rectangle 8">
            <a:extLst>
              <a:ext uri="{FF2B5EF4-FFF2-40B4-BE49-F238E27FC236}">
                <a16:creationId xmlns:a16="http://schemas.microsoft.com/office/drawing/2014/main" id="{8E52E448-F405-C9B4-BE43-E43CDEBA9A68}"/>
              </a:ext>
            </a:extLst>
          </p:cNvPr>
          <p:cNvSpPr/>
          <p:nvPr userDrawn="1"/>
        </p:nvSpPr>
        <p:spPr>
          <a:xfrm rot="10800000">
            <a:off x="17385323" y="6830441"/>
            <a:ext cx="5883144" cy="3442774"/>
          </a:xfrm>
          <a:prstGeom prst="snip2SameRect">
            <a:avLst>
              <a:gd name="adj1" fmla="val 26341"/>
              <a:gd name="adj2" fmla="val 0"/>
            </a:avLst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91416" rIns="182832" bIns="914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199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10F2AE9-5EFB-4CD4-917C-B6D9679766EF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109182" y="13003339"/>
            <a:ext cx="14551931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037619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828343"/>
            <a:fld id="{1D8BD707-D9CF-40AE-B4C6-C98DA3205C09}" type="datetimeFigureOut">
              <a:rPr lang="en-US" sz="3599" smtClean="0">
                <a:solidFill>
                  <a:srgbClr val="043765"/>
                </a:solidFill>
              </a:rPr>
              <a:pPr defTabSz="1828343"/>
              <a:t>2/26/2026</a:t>
            </a:fld>
            <a:endParaRPr lang="en-US" sz="3599">
              <a:solidFill>
                <a:srgbClr val="04376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828343"/>
            <a:endParaRPr lang="en-US" sz="3599">
              <a:solidFill>
                <a:srgbClr val="04376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343"/>
            <a:fld id="{B6F15528-21DE-4FAA-801E-634DDDAF4B2B}" type="slidenum">
              <a:rPr lang="en-US" sz="3599" smtClean="0">
                <a:solidFill>
                  <a:srgbClr val="043765"/>
                </a:solidFill>
              </a:rPr>
              <a:pPr defTabSz="1828343"/>
              <a:t>‹nº›</a:t>
            </a:fld>
            <a:endParaRPr lang="en-US" sz="3599">
              <a:solidFill>
                <a:srgbClr val="0437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7815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0CFDDBD5-92A3-0940-A1BC-30AE85B77D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501487" y="12687990"/>
            <a:ext cx="5484971" cy="7302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799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1828343"/>
            <a:fld id="{8CCFD6E2-36FF-FA42-8476-A87A4463E622}" type="slidenum">
              <a:rPr lang="pt-BR" smtClean="0"/>
              <a:pPr defTabSz="1828343"/>
              <a:t>‹nº›</a:t>
            </a:fld>
            <a:endParaRPr lang="pt-BR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C1C7AB7F-0816-4B41-B632-553BA261FC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891796" y="626212"/>
            <a:ext cx="1599183" cy="35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8035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5733D3-8ECB-43EA-24FF-F0F3D2F92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253B8F8-815B-F72E-B6E8-7FEB4F509E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5964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A970817-3681-3B8D-837A-0CF46DBB1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1185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879945F-25DD-2A3D-765B-D7602A9C4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0845EC-59E3-001A-0167-E7FD467D5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9CCD27A-5622-8194-E172-1E31EEF33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0807469"/>
      </p:ext>
    </p:extLst>
  </p:cSld>
  <p:clrMapOvr>
    <a:masterClrMapping/>
  </p:clrMapOvr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1427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5BB8A12-9249-33E2-A3FC-00C0A813B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139" y="730251"/>
            <a:ext cx="21025723" cy="2651126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31422A3-2F42-9B07-3E9A-82A56AE8B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139" y="3362326"/>
            <a:ext cx="10312888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FD73049-31BC-4C61-A847-D72386A088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139" y="5010150"/>
            <a:ext cx="10312888" cy="73691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FAAC2F2-D402-AC09-6484-8804288F1A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1186" y="3362326"/>
            <a:ext cx="10363676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42A25A21-16A7-D91F-8300-83B9DFC793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1186" y="5010150"/>
            <a:ext cx="10363676" cy="73691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D471610B-1B3D-7087-30D4-94D4F121E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A8C8839-26BF-AB7C-44D6-996453329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400AAC5-694F-4627-7D62-08A479D3B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4518046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F566EE-8B70-A844-96CC-B9AD97687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C2C3714-D434-CED1-64D8-74169CEE89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22A5302-6477-B7F5-9816-70E07212A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2FFFF97-4765-9642-732E-8FE7C4058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0370460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CF3C2BD-7084-9EAE-1903-C5EE825D74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FE108-B7BF-4DBF-86B8-1242E4FA2C12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F7D3F4B7-5759-CA1C-4220-D8C2093D3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E573707-9687-B4E9-83F0-D91D97319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92498-C1C1-48EA-BB80-B2A22F52988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3363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DEDCA14-7CB3-154C-FAB0-0187715BE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B03D42B-9691-8CCA-B289-B6D9ACCCD1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>
              <a:defRPr sz="6398"/>
            </a:lvl1pPr>
            <a:lvl2pPr>
              <a:defRPr sz="5599"/>
            </a:lvl2pPr>
            <a:lvl3pPr>
              <a:defRPr sz="4799"/>
            </a:lvl3pPr>
            <a:lvl4pPr>
              <a:defRPr sz="3999"/>
            </a:lvl4pPr>
            <a:lvl5pPr>
              <a:defRPr sz="3999"/>
            </a:lvl5pPr>
            <a:lvl6pPr>
              <a:defRPr sz="3999"/>
            </a:lvl6pPr>
            <a:lvl7pPr>
              <a:defRPr sz="3999"/>
            </a:lvl7pPr>
            <a:lvl8pPr>
              <a:defRPr sz="3999"/>
            </a:lvl8pPr>
            <a:lvl9pPr>
              <a:defRPr sz="3999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9F7F828-6EDD-F57A-CEC0-C3D9A5E0A3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8A525BA-7D81-C215-1755-DF9C0806A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00882F7-5F76-6ADB-9137-9FAE0CE2B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3EA1DD8-D3DD-316C-D5BF-07375786D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3660156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714620-3B10-FF83-C73C-EA5E12390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4AFCD24-CA36-B9B3-3B44-80F2CD84E1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 marL="0" indent="0">
              <a:buNone/>
              <a:defRPr sz="6398"/>
            </a:lvl1pPr>
            <a:lvl2pPr marL="914171" indent="0">
              <a:buNone/>
              <a:defRPr sz="5599"/>
            </a:lvl2pPr>
            <a:lvl3pPr marL="1828343" indent="0">
              <a:buNone/>
              <a:defRPr sz="4799"/>
            </a:lvl3pPr>
            <a:lvl4pPr marL="2742514" indent="0">
              <a:buNone/>
              <a:defRPr sz="3999"/>
            </a:lvl4pPr>
            <a:lvl5pPr marL="3656686" indent="0">
              <a:buNone/>
              <a:defRPr sz="3999"/>
            </a:lvl5pPr>
            <a:lvl6pPr marL="4570857" indent="0">
              <a:buNone/>
              <a:defRPr sz="3999"/>
            </a:lvl6pPr>
            <a:lvl7pPr marL="5485028" indent="0">
              <a:buNone/>
              <a:defRPr sz="3999"/>
            </a:lvl7pPr>
            <a:lvl8pPr marL="6399200" indent="0">
              <a:buNone/>
              <a:defRPr sz="3999"/>
            </a:lvl8pPr>
            <a:lvl9pPr marL="7313371" indent="0">
              <a:buNone/>
              <a:defRPr sz="3999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BAC077D-C8AF-272E-C7E6-ED435F9112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E2CE1A3-349A-7B6A-B34E-3CD80FD726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7A48B0-E03C-9D39-305A-F467524B7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66E35BE-85A1-01D4-9B76-3FE6762E0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806430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33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theme" Target="../theme/theme2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tags" Target="../tags/tag1.x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8" Type="http://schemas.openxmlformats.org/officeDocument/2006/relationships/slideLayout" Target="../slideLayouts/slideLayout20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20" Type="http://schemas.openxmlformats.org/officeDocument/2006/relationships/slideLayout" Target="../slideLayouts/slideLayout32.xml"/><Relationship Id="rId41" Type="http://schemas.openxmlformats.org/officeDocument/2006/relationships/tags" Target="../tags/tag1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B4D21EFA-6F05-0CDC-6B81-741BDEBDD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8D0A329-93B1-149F-6054-56B3ADEB29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ED60E16-0640-EAA3-3E2F-1BAB4C59E1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5964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DB88CE-337B-4E1B-B7BA-C0B3366F948F}" type="datetimeFigureOut">
              <a:rPr lang="pt-BR" smtClean="0"/>
              <a:t>26/02/2026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7B47140-3F58-6CAA-94DD-9B3BBC38D0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5097" y="12712701"/>
            <a:ext cx="8227457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A11CC8E-F926-210E-679F-EDB1E89821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16715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9FEF90-B147-45D1-94D8-80AD8709E6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0257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</p:sldLayoutIdLst>
  <p:hf sldNum="0" hd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30"/>
            </p:custDataLst>
          </p:nvPr>
        </p:nvGraphicFramePr>
        <p:xfrm>
          <a:off x="3175" y="3176"/>
          <a:ext cx="3175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413" imgH="416" progId="TCLayout.ActiveDocument.1">
                  <p:embed/>
                </p:oleObj>
              </mc:Choice>
              <mc:Fallback>
                <p:oleObj name="think-cell Slide" r:id="rId5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3175" y="3176"/>
                        <a:ext cx="3175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0" y="0"/>
            <a:ext cx="317417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999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107655" y="12558058"/>
            <a:ext cx="14553457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3"/>
            </p:custDataLst>
          </p:nvPr>
        </p:nvSpPr>
        <p:spPr>
          <a:xfrm>
            <a:off x="1109183" y="344424"/>
            <a:ext cx="22159284" cy="1463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9183" y="4343400"/>
            <a:ext cx="22159284" cy="5047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34"/>
            </p:custDataLst>
          </p:nvPr>
        </p:nvGrpSpPr>
        <p:grpSpPr>
          <a:xfrm>
            <a:off x="0" y="0"/>
            <a:ext cx="24374603" cy="13716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45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21450413" y="8647264"/>
            <a:ext cx="1969215" cy="3434436"/>
            <a:chOff x="9585951" y="2980137"/>
            <a:chExt cx="984864" cy="171721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9" b="0" i="0" u="none" strike="noStrike" kern="1200" cap="none" spc="0" normalizeH="0" baseline="0" noProof="0" err="1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37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35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33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54"/>
              <a:ext cx="658718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75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21378431" y="2678400"/>
            <a:ext cx="2046699" cy="3463718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48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307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66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225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86"/>
              <a:ext cx="670984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 err="1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18283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endParaRPr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16106" y="2578547"/>
            <a:ext cx="894243" cy="313932"/>
            <a:chOff x="8456447" y="272180"/>
            <a:chExt cx="335412" cy="156935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272" cy="1477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marL="0" marR="0" lvl="0" indent="0" algn="l" defTabSz="23871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100" normalizeH="0" baseline="0" noProof="0">
                  <a:ln w="3175"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Sticker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15"/>
              <a:ext cx="335412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20874563" y="6487264"/>
            <a:ext cx="2538009" cy="1916444"/>
            <a:chOff x="4372690" y="3739133"/>
            <a:chExt cx="1269335" cy="958222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33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54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75"/>
              <a:ext cx="653111" cy="21538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9" b="0" i="0" u="none" strike="noStrike" kern="1200" cap="none" spc="0" normalizeH="0" baseline="0" noProof="0">
                  <a:ln>
                    <a:noFill/>
                  </a:ln>
                  <a:solidFill>
                    <a:srgbClr val="043765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04376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</p:grpSp>
      <p:sp>
        <p:nvSpPr>
          <p:cNvPr id="6" name="CaixaDeTexto 5">
            <a:extLst>
              <a:ext uri="{FF2B5EF4-FFF2-40B4-BE49-F238E27FC236}">
                <a16:creationId xmlns:a16="http://schemas.microsoft.com/office/drawing/2014/main" id="{DF1D32EF-9D36-6933-6A4C-CDC0257B774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26968" y="127001"/>
            <a:ext cx="822112" cy="307777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n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0E7180B9-BEE1-F607-DE98-E023EA44D81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26968" y="13284201"/>
            <a:ext cx="822112" cy="307777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no</a:t>
            </a:r>
          </a:p>
        </p:txBody>
      </p:sp>
    </p:spTree>
    <p:extLst>
      <p:ext uri="{BB962C8B-B14F-4D97-AF65-F5344CB8AC3E}">
        <p14:creationId xmlns:p14="http://schemas.microsoft.com/office/powerpoint/2010/main" val="2297463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  <p:sldLayoutId id="2147484055" r:id="rId4"/>
    <p:sldLayoutId id="2147484056" r:id="rId5"/>
    <p:sldLayoutId id="2147484057" r:id="rId6"/>
    <p:sldLayoutId id="2147484058" r:id="rId7"/>
    <p:sldLayoutId id="2147484059" r:id="rId8"/>
    <p:sldLayoutId id="2147484060" r:id="rId9"/>
    <p:sldLayoutId id="2147484061" r:id="rId10"/>
    <p:sldLayoutId id="2147484062" r:id="rId11"/>
    <p:sldLayoutId id="2147484063" r:id="rId12"/>
    <p:sldLayoutId id="2147484064" r:id="rId13"/>
    <p:sldLayoutId id="2147484065" r:id="rId14"/>
    <p:sldLayoutId id="2147484066" r:id="rId15"/>
    <p:sldLayoutId id="2147484067" r:id="rId16"/>
    <p:sldLayoutId id="2147484068" r:id="rId17"/>
    <p:sldLayoutId id="2147484069" r:id="rId18"/>
    <p:sldLayoutId id="2147484070" r:id="rId19"/>
    <p:sldLayoutId id="2147484071" r:id="rId20"/>
    <p:sldLayoutId id="2147484072" r:id="rId21"/>
    <p:sldLayoutId id="2147484073" r:id="rId22"/>
    <p:sldLayoutId id="2147484074" r:id="rId23"/>
    <p:sldLayoutId id="2147484075" r:id="rId24"/>
    <p:sldLayoutId id="2147484076" r:id="rId25"/>
    <p:sldLayoutId id="2147484077" r:id="rId26"/>
    <p:sldLayoutId id="2147484078" r:id="rId27"/>
    <p:sldLayoutId id="2147484079" r:id="rId28"/>
  </p:sldLayoutIdLst>
  <p:txStyles>
    <p:titleStyle>
      <a:lvl1pPr algn="l" defTabSz="1828343" rtl="0" eaLnBrk="1" latinLnBrk="0" hangingPunct="1">
        <a:lnSpc>
          <a:spcPct val="93000"/>
        </a:lnSpc>
        <a:spcBef>
          <a:spcPct val="0"/>
        </a:spcBef>
        <a:buNone/>
        <a:defRPr sz="4999" b="1" kern="1200" spc="0" baseline="0">
          <a:ln w="6350" cap="flat">
            <a:noFill/>
            <a:miter lim="800000"/>
          </a:ln>
          <a:solidFill>
            <a:schemeClr val="accent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1pPr>
    </p:titleStyle>
    <p:bodyStyle>
      <a:lvl1pPr marL="0" indent="0" algn="l" defTabSz="1828343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Segoe UI" panose="020B0502040204020203" pitchFamily="34" charset="0"/>
        <a:buChar char="​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1pPr>
      <a:lvl2pPr marL="457086" indent="-450737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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2pPr>
      <a:lvl3pPr marL="1031618" indent="-574532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—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3pPr>
      <a:lvl4pPr marL="1485529" indent="-365035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»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4pPr>
      <a:lvl5pPr marL="1828343" indent="-272982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›"/>
        <a:defRPr sz="3199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5pPr>
      <a:lvl6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2171157" indent="-342814" algn="l" defTabSz="18283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1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jpeg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e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0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2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3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19.sv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39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jpeg"/><Relationship Id="rId9" Type="http://schemas.openxmlformats.org/officeDocument/2006/relationships/image" Target="../media/image19.sv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43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44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20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0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9.svg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49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20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Relationship Id="rId9" Type="http://schemas.openxmlformats.org/officeDocument/2006/relationships/image" Target="../media/image52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2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56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0.png"/><Relationship Id="rId7" Type="http://schemas.openxmlformats.org/officeDocument/2006/relationships/image" Target="../media/image18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20.png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19.svg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20.png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19.svg"/><Relationship Id="rId4" Type="http://schemas.openxmlformats.org/officeDocument/2006/relationships/diagramLayout" Target="../diagrams/layout4.xml"/><Relationship Id="rId9" Type="http://schemas.openxmlformats.org/officeDocument/2006/relationships/image" Target="../media/image18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sv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22.png"/><Relationship Id="rId4" Type="http://schemas.openxmlformats.org/officeDocument/2006/relationships/image" Target="../media/image62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63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6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65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231AEC-7675-5331-507A-865C14C17F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418" y="13055625"/>
            <a:ext cx="8750759" cy="430888"/>
          </a:xfrm>
        </p:spPr>
        <p:txBody>
          <a:bodyPr/>
          <a:lstStyle/>
          <a:p>
            <a:r>
              <a:rPr lang="pt-BR" dirty="0"/>
              <a:t>REV. 00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99E0E5-AA92-57CE-C1C8-B912BBB6C2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492" y="11315007"/>
            <a:ext cx="9948717" cy="671584"/>
          </a:xfrm>
        </p:spPr>
        <p:txBody>
          <a:bodyPr/>
          <a:lstStyle/>
          <a:p>
            <a:r>
              <a:rPr lang="pt-BR" dirty="0"/>
              <a:t>Gestão de Fornecedores – Atlas Inovação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23048-0F7D-775E-6D11-4B2815430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492" y="6962082"/>
            <a:ext cx="10564943" cy="3843416"/>
          </a:xfrm>
        </p:spPr>
        <p:txBody>
          <a:bodyPr/>
          <a:lstStyle/>
          <a:p>
            <a:r>
              <a:rPr lang="pt-BR" sz="8000" spc="-290" dirty="0">
                <a:solidFill>
                  <a:schemeClr val="bg1"/>
                </a:solidFill>
                <a:latin typeface="Montserrat" panose="00000500000000000000" pitchFamily="2" charset="0"/>
                <a:cs typeface="Poppins" pitchFamily="2" charset="77"/>
              </a:rPr>
              <a:t>Manual de Validação dos documentos de Saúde e Segurança do Trabalho</a:t>
            </a:r>
            <a:endParaRPr lang="pt-BR" sz="8000" dirty="0"/>
          </a:p>
        </p:txBody>
      </p:sp>
      <p:pic>
        <p:nvPicPr>
          <p:cNvPr id="5" name="Gráfico 3">
            <a:extLst>
              <a:ext uri="{FF2B5EF4-FFF2-40B4-BE49-F238E27FC236}">
                <a16:creationId xmlns:a16="http://schemas.microsoft.com/office/drawing/2014/main" id="{CA276A06-B80F-DAA2-90A1-12616976EA6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928328" y="919992"/>
            <a:ext cx="4614061" cy="1624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6324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12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-3131378" y="10265559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3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-2465678" y="11300142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4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7989719" y="-4760658"/>
            <a:ext cx="6170892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5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8545556" y="-3726075"/>
            <a:ext cx="5059217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525800" y="1836249"/>
            <a:ext cx="92640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CAT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106" y="2719924"/>
            <a:ext cx="1683929" cy="97619"/>
          </a:xfrm>
          <a:prstGeom prst="rect">
            <a:avLst/>
          </a:prstGeom>
        </p:spPr>
      </p:pic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7C8A4A86-0039-96DE-A339-7091E8F1423F}"/>
              </a:ext>
            </a:extLst>
          </p:cNvPr>
          <p:cNvSpPr/>
          <p:nvPr/>
        </p:nvSpPr>
        <p:spPr>
          <a:xfrm>
            <a:off x="1525800" y="3342281"/>
            <a:ext cx="19962599" cy="387269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013BB90A-AA53-1DAA-3A21-2A5654C084FC}"/>
              </a:ext>
            </a:extLst>
          </p:cNvPr>
          <p:cNvSpPr txBox="1"/>
          <p:nvPr/>
        </p:nvSpPr>
        <p:spPr>
          <a:xfrm>
            <a:off x="1898780" y="4124939"/>
            <a:ext cx="195896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rgbClr val="01436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laudo técnico das condições ambientais de trabalho tem como objetivo </a:t>
            </a:r>
          </a:p>
          <a:p>
            <a:r>
              <a:rPr lang="pt-BR" sz="3200" dirty="0">
                <a:solidFill>
                  <a:srgbClr val="01436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r qualitativa e quantitativamente os agentes de riscos previstos na legislação previdenciária e existentes no ambiente de trabalho. Ele é um documento exigido pelo INSS para apontar os agentes nocivos que um trabalhador esteve exposto durante seu tempo de trabalho e que tinham potencial para afetar a sua saúde.​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4EDA894-176E-357F-3B47-6B456B80F9C0}"/>
              </a:ext>
            </a:extLst>
          </p:cNvPr>
          <p:cNvSpPr txBox="1"/>
          <p:nvPr/>
        </p:nvSpPr>
        <p:spPr>
          <a:xfrm>
            <a:off x="1898780" y="6790899"/>
            <a:ext cx="1996259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Norma Regulamentadora e Lei que regulamentam e obriga as empresas a terem o LTCAT é a Lei 9.213/1991 e a Norma Regulamentadora nº 09 do Ministério do Trabalho e Emprego.​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D56C66A-9C5B-4F3E-AF4D-DF6F218D6D3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6AEAEA18-06B6-9210-1F8D-3C907CE1FA8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480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2400" b="1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67385" y="1888935"/>
            <a:ext cx="821535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LTCAT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22420" y="3159117"/>
            <a:ext cx="7562215" cy="10125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O laudo técnico das condições ambientais de trabalho tem como objetivo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valiar qualitativa e quantitativamente os agentes de riscos previstos na legislação previdenciária e existentes no ambiente de trabalho. Ele é um documento exigido pelo INSS para apontar os agentes nocivos que um trabalhador esteve exposto durante seu tempo de trabalho e que tinham potencial para afetar a sua saúde.​</a:t>
            </a:r>
          </a:p>
          <a:p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 Norma Regulamentadora e Lei que regulamentam e obriga as empresas a terem o LTCAT é a Lei 9.213/1991 e a Norma Regulamentadora nº 09 do Ministério do Trabalho e Emprego.</a:t>
            </a:r>
          </a:p>
          <a:p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LTCAT</a:t>
            </a:r>
          </a:p>
          <a:p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2765572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0395044" y="1071102"/>
            <a:ext cx="13805683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ção dos Agentes Nociv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acterização do ambiente de trabalh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ção quantitativa ou qualitativ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r coerente com PGR/PCM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dar robustez ao laudo, o LTCAT se apoia em normas como: 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s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principalmente a NR-15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HO da </a:t>
            </a: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ndacentr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ruído, calor, agentes químicos etc.)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étodos de avaliação reconhecido</a:t>
            </a:r>
          </a:p>
          <a:p>
            <a:pPr lvl="1"/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2517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1878519"/>
            <a:ext cx="12188825" cy="1086451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alidade do documento (Indeterminada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 atualização do documento deve ser sempre que houver mudanças de layout / novos riscos ocupacionai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 empres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o setor e da funçã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de atividade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e agente nocivo capaz de causar dano para saúde e integridade física, listado na Legislação Previdenciári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Localização das possíveis fontes geradora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EPCs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e </a:t>
            </a: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EPIsEPCs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existentes (EPIs utilizados, se são eficazes ou não, se neutralizam ou não o agente nociv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ia e periodicidade de exposição ao agente nociv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todologia e procedimentos de avaliação doa gente nociv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medidas de controle existente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clusão técnica do LTCAT;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ssinatura do médico do trabalho ou engenheiro de segurança;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ata de realização da avaliação ambiental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RT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Programas como  o PCMSO, o PGR  estabelecidos pelo Ministério do Trabalho, elaborados pela empresa,  irão servir como base técnica e legal na hora da elaboração do LTCAT e do PPP.​ 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915923" y="484834"/>
            <a:ext cx="14088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latin typeface="Verdana" panose="020B0604030504040204" pitchFamily="34" charset="0"/>
                <a:ea typeface="Verdana" panose="020B0604030504040204" pitchFamily="34" charset="0"/>
              </a:rPr>
              <a:t>LTCAT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9639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68F9365E-6424-65A8-25FD-08A7F1397AE0}"/>
              </a:ext>
            </a:extLst>
          </p:cNvPr>
          <p:cNvSpPr txBox="1"/>
          <p:nvPr/>
        </p:nvSpPr>
        <p:spPr>
          <a:xfrm>
            <a:off x="714553" y="1252707"/>
            <a:ext cx="901466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IP (Laudo Técnico de Insalubridade e Periculosidade)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98D50D6-CB70-0B7F-9693-AC124ACD3FB4}"/>
              </a:ext>
            </a:extLst>
          </p:cNvPr>
          <p:cNvSpPr txBox="1"/>
          <p:nvPr/>
        </p:nvSpPr>
        <p:spPr>
          <a:xfrm>
            <a:off x="363031" y="4205378"/>
            <a:ext cx="8567403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base"/>
            <a:r>
              <a:rPr lang="pt-BR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</a:t>
            </a:r>
            <a:r>
              <a:rPr lang="pt-BR" sz="3200" b="1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IP - Laudo Técnico de Insalubridade e Periculosidade</a:t>
            </a:r>
            <a:r>
              <a:rPr lang="pt-BR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tem o objetivo de avaliar a exposições dos colaboradores a agentes ou atividades nocivos que geram direito a receber o adicional de Insalubridade e/ou Periculosidade.</a:t>
            </a:r>
            <a:r>
              <a:rPr lang="en-US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  <a:endParaRPr lang="en-US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base"/>
            <a:r>
              <a:rPr lang="pt-BR" sz="3200" dirty="0">
                <a:solidFill>
                  <a:srgbClr val="13141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 base nas avaliações ambientais e de acordo com os sistemas de prevenção coletivo e individual adotados pelo empregador é possível determinar se é devido ou não o pagamento dos adicionais</a:t>
            </a:r>
            <a:r>
              <a:rPr lang="pt-BR" sz="3200" dirty="0">
                <a:solidFill>
                  <a:srgbClr val="131418"/>
                </a:solidFill>
                <a:latin typeface="Encode Sans"/>
              </a:rPr>
              <a:t>.</a:t>
            </a:r>
            <a:r>
              <a:rPr lang="en-US" sz="3200" dirty="0">
                <a:solidFill>
                  <a:srgbClr val="131418"/>
                </a:solidFill>
                <a:latin typeface="Encode Sans"/>
              </a:rPr>
              <a:t>​</a:t>
            </a:r>
            <a:endParaRPr lang="en-US" sz="6600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90835669-5053-46CE-6F8E-FBB136126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965" y="3376365"/>
            <a:ext cx="1683929" cy="97619"/>
          </a:xfrm>
          <a:prstGeom prst="rect">
            <a:avLst/>
          </a:prstGeom>
        </p:spPr>
      </p:pic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1D43CE1-5E5B-0FE4-B184-067B2039FA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B23B60F-BCD6-B4B8-8E12-1E1736C234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0395044" y="1071102"/>
            <a:ext cx="1380568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ase obrigatória nas Normas Regulamentadoras do M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Normas Técnicas de Avaliação para respaldo técnico às mediçõ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Caracterização do ambiente e das atividades envolvida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Identificação de todos os agentes de risco contidos no ambie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Avaliação técnica da exposiç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Ter os critérios de enquadramento do adiciona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8082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1878519"/>
            <a:ext cx="12188825" cy="1000273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Objetivo e datas em que foram desenvolvidos os procedimentos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e resultado da avaliação preliminar da exposição, realizada de acordo com o item 4 do Anexo I da NR-09; (alterada pela Portaria MTP n.º 426, de 07 de outubro de 2021)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todologia e critérios empregados, inclusas a caracterização da exposição e representatividade da amostragem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nstrumentais utilizados, bem como o registro dos certificados de calibração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ados obtidos e respectiva interpretação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ircunstâncias específicas que envolveram a avaliação; 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medidas preventivas e corretivas eventualmente existentes e indicação das necessárias, bem como a comprovação de sua eficáci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clus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 empresa: Razão social / CNPJ / CNAE / GRAU DE RISC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ssinatura do responsável pela elaboração do documento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RT vinculada.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915923" y="687646"/>
            <a:ext cx="14088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TIP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535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944B51-1193-6758-9A5E-4F2124885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2AED36F6-4C4F-418E-1630-0448639A9403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1D159AC5-360D-7EBE-6021-2087BB80507E}"/>
              </a:ext>
            </a:extLst>
          </p:cNvPr>
          <p:cNvSpPr/>
          <p:nvPr/>
        </p:nvSpPr>
        <p:spPr>
          <a:xfrm>
            <a:off x="10684159" y="20117"/>
            <a:ext cx="1372503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9.4 A AET, quando indicada por uma das alíneas do item 17.3.2 da NR 17, deve contemplar: </a:t>
            </a:r>
          </a:p>
          <a:p>
            <a:pPr algn="ctr"/>
            <a:endParaRPr lang="pt-BR" sz="28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características dos postos de trabalho no que se refere ao mobiliário, utensílios, ferramentas, espaço físico para a execução do trabalho e condições de posicionamento e movimentação de segmentos corporais; </a:t>
            </a:r>
          </a:p>
          <a:p>
            <a:endParaRPr lang="pt-BR" sz="2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avaliação da organização do trabalho demonstrando: I - trabalho real e trabalho prescrito; II - descrição da produção em relação ao tempo alocado para as tarefas; III - variações diárias, semanais e mensais da carga de atendimento, incluindo variações sazonais e intercorrências técnico-operacionais mais frequentes; IV - número de ciclos de trabalho e sua descrição, incluindo trabalho em turnos e trabalho noturno; V - ocorrência de pausas interciclos; VI - explicitação das normas de produção, das exigências de tempo, da determinação do conteúdo de tempo, do ritmo de trabalho e do conteúdo das tarefas executadas; VII - histórico mensal de horas extras realizadas em cada ano; e VIII - explicitação da existência de sobrecargas estáticas ou dinâmicas do sistema osteomuscular;</a:t>
            </a:r>
          </a:p>
          <a:p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relatório estatístico da incidência de queixas de agravos à saúde colhidas pela Medicina do Trabalho nos prontuários médicos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relatórios de avaliações de satisfação no trabalho e clima organizacional, se realizadas no âmbito da organização; </a:t>
            </a:r>
          </a:p>
          <a:p>
            <a:endParaRPr lang="pt-BR" sz="2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registro e análise de impressões e sugestões dos trabalhadores com relação aos aspectos dos itens anteriores; 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600" dirty="0">
                <a:latin typeface="Verdana" panose="020B0604030504040204" pitchFamily="34" charset="0"/>
                <a:ea typeface="Verdana" panose="020B0604030504040204" pitchFamily="34" charset="0"/>
              </a:rPr>
              <a:t> recomendações ergonômicas expressas em planos e propostas claros e objetivos, com definição de datas de implantação.</a:t>
            </a:r>
            <a:br>
              <a:rPr lang="pt-BR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</a:br>
            <a:r>
              <a:rPr lang="pt-BR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pt-BR" sz="2800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06E19B0-FF77-898E-3862-422CA45FE28A}"/>
              </a:ext>
            </a:extLst>
          </p:cNvPr>
          <p:cNvSpPr txBox="1"/>
          <p:nvPr/>
        </p:nvSpPr>
        <p:spPr>
          <a:xfrm>
            <a:off x="861129" y="1047968"/>
            <a:ext cx="908039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AET – Análise Ergonômica do Trabalho</a:t>
            </a:r>
            <a:endParaRPr lang="pt-BR" sz="44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7C073D3-9D6D-11F3-D1BD-694A613E51D8}"/>
              </a:ext>
            </a:extLst>
          </p:cNvPr>
          <p:cNvSpPr txBox="1"/>
          <p:nvPr/>
        </p:nvSpPr>
        <p:spPr>
          <a:xfrm>
            <a:off x="471339" y="3642696"/>
            <a:ext cx="9859973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17.3.2 A organização deve realizar Análise Ergonômica do Trabalho - AET da situação de trabalho quando: a) observada a necessidade de uma avaliação mais aprofundada da situação; b) identificadas inadequações ou insuficiência das ações adotadas; c) sugerida pelo acompanhamento de saúde dos trabalhadores, nos termos do Programa de Controle Médico de Saúde Ocupacional - PCMSO e da alínea “c” do subitem 1.5.5.1.1 da NR 01; ou d) indicada causa relacionada às condições de trabalho na análise de acidentes e doenças relacionadas ao trabalho, nos termos do Programa de Gerenciamento de Riscos - PGR. </a:t>
            </a:r>
            <a:endParaRPr lang="en-US" sz="3200" b="0" i="0" dirty="0">
              <a:solidFill>
                <a:srgbClr val="000000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9B383FC-9159-C9BA-D566-8606828416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872" y="2802648"/>
            <a:ext cx="2301735" cy="177306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1982469-1370-C297-C028-D207058B15B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90FF43CA-1923-4220-F232-32CE0555711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2364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8" y="2625033"/>
            <a:ext cx="82153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O</a:t>
            </a:r>
          </a:p>
          <a:p>
            <a:endParaRPr lang="pt-BR" sz="44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Atestado de Saúde Ocupacional é uma declaração médica que indica se o trabalhador está em condições (apto) ou não (inapto) de realizar determinadas atividades ou funções dentro de uma empresa.​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9FE4B07A-5C01-29F4-9141-333189C53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8237" y="2091140"/>
            <a:ext cx="6939413" cy="9420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tângulo 8"/>
          <p:cNvSpPr/>
          <p:nvPr/>
        </p:nvSpPr>
        <p:spPr>
          <a:xfrm>
            <a:off x="9745579" y="418491"/>
            <a:ext cx="7692658" cy="13018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como base?</a:t>
            </a:r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 do trabalhador, sua funçã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PF Do funcionári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riscos ocupacionais específicos existentes, ou a ausência deles, na atividade do empregado, conforme instruções técnicas expedidas pela Secretaria de Segurança e Saúde no Trabalho (SST)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indicação dos procedimentos médicos a que foi submetido o trabalhador, incluindo os exames complementares e a data em que foram realizado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médico coordenador, quando houver, com o respectivo número de inscrição no Conselho Regional de Medicina (CRM)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e apto ou inapto para a função específica que o trabalhador vai exercer, exerce ou exerceu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médico encarregado do exame e o endereço ou forma de contat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a assinatura do médico encarregado do exame e o carimbo com CRM.</a:t>
            </a:r>
          </a:p>
          <a:p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</p:spTree>
    <p:extLst>
      <p:ext uri="{BB962C8B-B14F-4D97-AF65-F5344CB8AC3E}">
        <p14:creationId xmlns:p14="http://schemas.microsoft.com/office/powerpoint/2010/main" val="20418450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994118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ntos importantes: 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forme a NR 01, o MEI/PP pode ser dispensado de elaborar o Programa de Controle Médico de Saúde Ocupacional (PCMSO) quando classificado em graus de risco 1 ou 2, ou por opção da contratante. No entanto, mesmo quando dispensado, a contratante direta deve assumir a responsabilidade pelo MEI em seu próprio PCMSO, assegurando a realização de todos os exames médicos previstos.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 NR 07 estabelece que o ASO deve conter o nome e registro do médico responsável pelo PCMSO quando este for utilizado, o que é obrigatório no caso do MEI estar sob o PCMSO da contratante. Isso garante que todos os exames médicos necessários sejam realizados e documentados adequadamente, conforme exigido pela regulamentação vigent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A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4146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104336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azo de validade de 1 ano (ou de acordo com a determinação do médico responsável pelo PCMSO)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NPJ  / Razão Social da Empres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elaboração do ASO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star a descrição dos Perigos ou fatores de riscos ocupacionais, ou a ausência del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/ Data de nascimento/ N° do CPF do funcionário/ Função 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s Complementares / Procedimentos médic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s ASO X PCMS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os exames médicos Clínicos e Complementares;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ptidão para função e/ou Aptidão específica para atividades de risco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dos do médico examinador (carimbo e assinatura); 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data, número de registro profissional e assinatura do médico que realizou o exame clínico. 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nome e número de registro profissional do médico responsável pelo PCMSO, se houver;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A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072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2A82B-974C-14A9-7229-960E3CC45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CA3235BF-3578-3E1A-FE4F-009B55D3922A}"/>
              </a:ext>
            </a:extLst>
          </p:cNvPr>
          <p:cNvSpPr txBox="1"/>
          <p:nvPr/>
        </p:nvSpPr>
        <p:spPr>
          <a:xfrm>
            <a:off x="1581786" y="1275362"/>
            <a:ext cx="82153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O DEMISSIONAL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DE363CD-5C1B-3F79-905D-224ACA6F3B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7" y="2044803"/>
            <a:ext cx="2301735" cy="133434"/>
          </a:xfrm>
          <a:prstGeom prst="rect">
            <a:avLst/>
          </a:prstGeom>
        </p:spPr>
      </p:pic>
      <p:sp>
        <p:nvSpPr>
          <p:cNvPr id="3" name="CaixaDeTexto 10">
            <a:extLst>
              <a:ext uri="{FF2B5EF4-FFF2-40B4-BE49-F238E27FC236}">
                <a16:creationId xmlns:a16="http://schemas.microsoft.com/office/drawing/2014/main" id="{4CA567DC-6C92-AB2E-4D0D-06BCEFE1EAEF}"/>
              </a:ext>
            </a:extLst>
          </p:cNvPr>
          <p:cNvSpPr txBox="1"/>
          <p:nvPr/>
        </p:nvSpPr>
        <p:spPr>
          <a:xfrm>
            <a:off x="1678037" y="3624479"/>
            <a:ext cx="1874568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tentar-se aos detalhes da norma conforme imagem abaixo, no ato da validação desse campo, pois poderá ser anexado o ASO mais recente, quando não houver necessidade da emissão do ASO demissional.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379869" y="-4150808"/>
            <a:ext cx="7390591" cy="8032151"/>
            <a:chOff x="611617" y="1481762"/>
            <a:chExt cx="6583680" cy="4499147"/>
          </a:xfrm>
        </p:grpSpPr>
        <p:sp>
          <p:nvSpPr>
            <p:cNvPr id="15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6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pic>
        <p:nvPicPr>
          <p:cNvPr id="2051" name="Picture 3">
            <a:extLst>
              <a:ext uri="{FF2B5EF4-FFF2-40B4-BE49-F238E27FC236}">
                <a16:creationId xmlns:a16="http://schemas.microsoft.com/office/drawing/2014/main" id="{8348D723-55F4-5E04-217D-0A09D4257A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71"/>
          <a:stretch/>
        </p:blipFill>
        <p:spPr bwMode="auto">
          <a:xfrm>
            <a:off x="2061537" y="6325408"/>
            <a:ext cx="17978680" cy="2789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m 16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D56C66A-9C5B-4F3E-AF4D-DF6F218D6D3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8" name="Gráfico 8">
            <a:extLst>
              <a:ext uri="{FF2B5EF4-FFF2-40B4-BE49-F238E27FC236}">
                <a16:creationId xmlns:a16="http://schemas.microsoft.com/office/drawing/2014/main" id="{6AEAEA18-06B6-9210-1F8D-3C907CE1FA8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813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9" y="2234849"/>
            <a:ext cx="82153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01 - SEGURANÇA E SAÚDE NO</a:t>
            </a:r>
          </a:p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O (ORDEM DE SERVIÇO)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Ordem de Serviço tem a missão de informar o funcionário sobre os riscos do ambiente. Assim, este é o documento que comprova que o empregado recebeu esclarecimentos referentes aos riscos relacionados ao exercício de sua função e as orientações referentes às políticas de segurança e saúde adotadas na empresa, orientações sobre os EPI utilizados. 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3" name="Picture 2" descr="Baixar - Modelo de OS - Ordem de Serviço">
            <a:extLst>
              <a:ext uri="{FF2B5EF4-FFF2-40B4-BE49-F238E27FC236}">
                <a16:creationId xmlns:a16="http://schemas.microsoft.com/office/drawing/2014/main" id="{8F06E2D8-F6B2-0508-FD7B-927601AFB0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5" t="3005"/>
          <a:stretch/>
        </p:blipFill>
        <p:spPr bwMode="auto">
          <a:xfrm>
            <a:off x="10028556" y="2773458"/>
            <a:ext cx="14155411" cy="9415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667384" y="10046220"/>
            <a:ext cx="756221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 tipo de contrato de grandes paradas não é necessário anexar o PGR, confirmar exposição a riscos relevantes na  O.S.</a:t>
            </a:r>
          </a:p>
        </p:txBody>
      </p:sp>
    </p:spTree>
    <p:extLst>
      <p:ext uri="{BB962C8B-B14F-4D97-AF65-F5344CB8AC3E}">
        <p14:creationId xmlns:p14="http://schemas.microsoft.com/office/powerpoint/2010/main" val="42846010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9" y="2234849"/>
            <a:ext cx="82153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CNH</a:t>
            </a:r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NH é a sigla para Carteira Nacional de Habilitação, também denominada carteira de habilitação, carteira de motorista ou carta de motorista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2318C7C5-045F-0EE7-B66C-0EBCA1EC0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3239" y="1536383"/>
            <a:ext cx="11242087" cy="10643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86162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CNH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  <p:sp>
        <p:nvSpPr>
          <p:cNvPr id="23" name="Retângulo 22"/>
          <p:cNvSpPr/>
          <p:nvPr/>
        </p:nvSpPr>
        <p:spPr>
          <a:xfrm>
            <a:off x="11116044" y="2242315"/>
            <a:ext cx="11823469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funcionári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dos pessoais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e validade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funcionári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úmero de registro da CNH. </a:t>
            </a:r>
          </a:p>
        </p:txBody>
      </p:sp>
      <p:cxnSp>
        <p:nvCxnSpPr>
          <p:cNvPr id="27" name="Conector: Angulado 14">
            <a:extLst>
              <a:ext uri="{FF2B5EF4-FFF2-40B4-BE49-F238E27FC236}">
                <a16:creationId xmlns:a16="http://schemas.microsoft.com/office/drawing/2014/main" id="{E99E1DE6-56B9-E111-9975-C41900339D70}"/>
              </a:ext>
            </a:extLst>
          </p:cNvPr>
          <p:cNvCxnSpPr>
            <a:cxnSpLocks/>
          </p:cNvCxnSpPr>
          <p:nvPr/>
        </p:nvCxnSpPr>
        <p:spPr>
          <a:xfrm>
            <a:off x="18587509" y="7258566"/>
            <a:ext cx="2098933" cy="1016724"/>
          </a:xfrm>
          <a:prstGeom prst="bentConnector3">
            <a:avLst>
              <a:gd name="adj1" fmla="val 50000"/>
            </a:avLst>
          </a:prstGeom>
          <a:ln w="76200">
            <a:solidFill>
              <a:srgbClr val="0143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Agrupar 27"/>
          <p:cNvGrpSpPr/>
          <p:nvPr/>
        </p:nvGrpSpPr>
        <p:grpSpPr>
          <a:xfrm>
            <a:off x="11318972" y="6278578"/>
            <a:ext cx="12844389" cy="6642531"/>
            <a:chOff x="9416001" y="2191611"/>
            <a:chExt cx="16556675" cy="9332778"/>
          </a:xfrm>
          <a:solidFill>
            <a:srgbClr val="043765"/>
          </a:solidFill>
        </p:grpSpPr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53BE21FB-283E-5AF9-5058-F7D915BFBF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45157" y="2191611"/>
              <a:ext cx="7092911" cy="9332778"/>
            </a:xfrm>
            <a:prstGeom prst="rect">
              <a:avLst/>
            </a:prstGeom>
            <a:grpFill/>
          </p:spPr>
        </p:pic>
        <p:cxnSp>
          <p:nvCxnSpPr>
            <p:cNvPr id="39" name="Conector: Angulado 8">
              <a:extLst>
                <a:ext uri="{FF2B5EF4-FFF2-40B4-BE49-F238E27FC236}">
                  <a16:creationId xmlns:a16="http://schemas.microsoft.com/office/drawing/2014/main" id="{71313D25-DFFE-B20C-75A0-831D9555D04D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2503892" y="3385699"/>
              <a:ext cx="1865121" cy="1215402"/>
            </a:xfrm>
            <a:prstGeom prst="bentConnector3">
              <a:avLst/>
            </a:prstGeom>
            <a:grpFill/>
            <a:ln w="76200">
              <a:solidFill>
                <a:srgbClr val="01436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de Seta Reta 39">
              <a:extLst>
                <a:ext uri="{FF2B5EF4-FFF2-40B4-BE49-F238E27FC236}">
                  <a16:creationId xmlns:a16="http://schemas.microsoft.com/office/drawing/2014/main" id="{9EC0F42E-47AD-90DB-8852-2CA80E8BB2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503892" y="8315785"/>
              <a:ext cx="1716264" cy="0"/>
            </a:xfrm>
            <a:prstGeom prst="straightConnector1">
              <a:avLst/>
            </a:prstGeom>
            <a:grpFill/>
            <a:ln w="76200">
              <a:solidFill>
                <a:srgbClr val="01436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tângulo: Cantos Arredondados 20">
              <a:extLst>
                <a:ext uri="{FF2B5EF4-FFF2-40B4-BE49-F238E27FC236}">
                  <a16:creationId xmlns:a16="http://schemas.microsoft.com/office/drawing/2014/main" id="{82183AF7-920A-95E2-9554-09F69C3C12D3}"/>
                </a:ext>
              </a:extLst>
            </p:cNvPr>
            <p:cNvSpPr/>
            <p:nvPr/>
          </p:nvSpPr>
          <p:spPr>
            <a:xfrm>
              <a:off x="14220156" y="7202004"/>
              <a:ext cx="5715002" cy="2048322"/>
            </a:xfrm>
            <a:prstGeom prst="roundRect">
              <a:avLst/>
            </a:prstGeom>
            <a:grpFill/>
            <a:ln w="76200">
              <a:solidFill>
                <a:srgbClr val="0143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42" name="Conector: Angulado 23">
              <a:extLst>
                <a:ext uri="{FF2B5EF4-FFF2-40B4-BE49-F238E27FC236}">
                  <a16:creationId xmlns:a16="http://schemas.microsoft.com/office/drawing/2014/main" id="{E95E7700-F96F-D9DD-1C52-7627C2FE6FD0}"/>
                </a:ext>
              </a:extLst>
            </p:cNvPr>
            <p:cNvCxnSpPr>
              <a:cxnSpLocks/>
            </p:cNvCxnSpPr>
            <p:nvPr/>
          </p:nvCxnSpPr>
          <p:spPr>
            <a:xfrm>
              <a:off x="18375327" y="9593775"/>
              <a:ext cx="2705567" cy="1430450"/>
            </a:xfrm>
            <a:prstGeom prst="bentConnector3">
              <a:avLst>
                <a:gd name="adj1" fmla="val 50000"/>
              </a:avLst>
            </a:prstGeom>
            <a:grpFill/>
            <a:ln w="76200">
              <a:solidFill>
                <a:srgbClr val="01436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CaixaDeTexto 42">
              <a:extLst>
                <a:ext uri="{FF2B5EF4-FFF2-40B4-BE49-F238E27FC236}">
                  <a16:creationId xmlns:a16="http://schemas.microsoft.com/office/drawing/2014/main" id="{7A7B70C5-BE3F-A907-17EA-FEE05A29616B}"/>
                </a:ext>
              </a:extLst>
            </p:cNvPr>
            <p:cNvSpPr txBox="1"/>
            <p:nvPr/>
          </p:nvSpPr>
          <p:spPr>
            <a:xfrm>
              <a:off x="9462590" y="4167002"/>
              <a:ext cx="3103883" cy="10810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ome do</a:t>
              </a:r>
            </a:p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uncionário</a:t>
              </a:r>
              <a:r>
                <a:rPr lang="pt-BR" sz="2400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​</a:t>
              </a:r>
            </a:p>
          </p:txBody>
        </p:sp>
        <p:sp>
          <p:nvSpPr>
            <p:cNvPr id="44" name="CaixaDeTexto 43">
              <a:extLst>
                <a:ext uri="{FF2B5EF4-FFF2-40B4-BE49-F238E27FC236}">
                  <a16:creationId xmlns:a16="http://schemas.microsoft.com/office/drawing/2014/main" id="{939E74BD-0A2D-F3D5-4C40-F0358DAE20A0}"/>
                </a:ext>
              </a:extLst>
            </p:cNvPr>
            <p:cNvSpPr txBox="1"/>
            <p:nvPr/>
          </p:nvSpPr>
          <p:spPr>
            <a:xfrm>
              <a:off x="22868793" y="7550308"/>
              <a:ext cx="3103883" cy="10810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ta de validade</a:t>
              </a:r>
              <a:r>
                <a:rPr lang="pt-BR" sz="2400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​</a:t>
              </a:r>
            </a:p>
          </p:txBody>
        </p:sp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id="{9BE3B205-4AD4-FAAD-AA37-C106F8FF53C1}"/>
                </a:ext>
              </a:extLst>
            </p:cNvPr>
            <p:cNvSpPr txBox="1"/>
            <p:nvPr/>
          </p:nvSpPr>
          <p:spPr>
            <a:xfrm>
              <a:off x="9416001" y="7639218"/>
              <a:ext cx="3197062" cy="272429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 Obs. (EAR (Exerce Atividade Remunerada) emitido pelo DETRAN​</a:t>
              </a:r>
            </a:p>
          </p:txBody>
        </p:sp>
        <p:sp>
          <p:nvSpPr>
            <p:cNvPr id="46" name="CaixaDeTexto 45">
              <a:extLst>
                <a:ext uri="{FF2B5EF4-FFF2-40B4-BE49-F238E27FC236}">
                  <a16:creationId xmlns:a16="http://schemas.microsoft.com/office/drawing/2014/main" id="{EFCB0FDD-47F1-C3EA-2694-194CFCB52FEE}"/>
                </a:ext>
              </a:extLst>
            </p:cNvPr>
            <p:cNvSpPr txBox="1"/>
            <p:nvPr/>
          </p:nvSpPr>
          <p:spPr>
            <a:xfrm>
              <a:off x="21080894" y="10485617"/>
              <a:ext cx="3103883" cy="9945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ssinatura do funcionário​</a:t>
              </a:r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2ADD86F8-3BB7-93FD-D484-DFC46FD79851}"/>
                </a:ext>
              </a:extLst>
            </p:cNvPr>
            <p:cNvSpPr txBox="1"/>
            <p:nvPr/>
          </p:nvSpPr>
          <p:spPr>
            <a:xfrm>
              <a:off x="20636888" y="5180125"/>
              <a:ext cx="3103883" cy="64864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pt-BR" sz="2000" b="1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dos pessoais</a:t>
              </a:r>
              <a:r>
                <a:rPr lang="pt-BR" sz="2400" dirty="0">
                  <a:solidFill>
                    <a:srgbClr val="11111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​</a:t>
              </a:r>
            </a:p>
          </p:txBody>
        </p:sp>
        <p:sp>
          <p:nvSpPr>
            <p:cNvPr id="48" name="CaixaDeTexto 47">
              <a:extLst>
                <a:ext uri="{FF2B5EF4-FFF2-40B4-BE49-F238E27FC236}">
                  <a16:creationId xmlns:a16="http://schemas.microsoft.com/office/drawing/2014/main" id="{94DBDE17-5E46-B1B5-169C-DFE564474F0D}"/>
                </a:ext>
              </a:extLst>
            </p:cNvPr>
            <p:cNvSpPr txBox="1"/>
            <p:nvPr/>
          </p:nvSpPr>
          <p:spPr>
            <a:xfrm>
              <a:off x="9746936" y="6125986"/>
              <a:ext cx="2608099" cy="9945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pt-BR" sz="2000" b="1" dirty="0">
                  <a:latin typeface="Verdana" panose="020B0604030504040204" pitchFamily="34" charset="0"/>
                  <a:ea typeface="Verdana" panose="020B0604030504040204" pitchFamily="34" charset="0"/>
                </a:rPr>
                <a:t>Número de registro</a:t>
              </a:r>
            </a:p>
          </p:txBody>
        </p:sp>
      </p:grpSp>
      <p:cxnSp>
        <p:nvCxnSpPr>
          <p:cNvPr id="49" name="Conector: Angulado 19">
            <a:extLst>
              <a:ext uri="{FF2B5EF4-FFF2-40B4-BE49-F238E27FC236}">
                <a16:creationId xmlns:a16="http://schemas.microsoft.com/office/drawing/2014/main" id="{9E7AA95B-EF1D-A85A-39AB-B145FCAB0FB1}"/>
              </a:ext>
            </a:extLst>
          </p:cNvPr>
          <p:cNvCxnSpPr/>
          <p:nvPr/>
        </p:nvCxnSpPr>
        <p:spPr>
          <a:xfrm>
            <a:off x="13532515" y="9246712"/>
            <a:ext cx="1236954" cy="316625"/>
          </a:xfrm>
          <a:prstGeom prst="bentConnector3">
            <a:avLst/>
          </a:prstGeom>
          <a:ln w="76200">
            <a:solidFill>
              <a:srgbClr val="04376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: Angulado 14">
            <a:extLst>
              <a:ext uri="{FF2B5EF4-FFF2-40B4-BE49-F238E27FC236}">
                <a16:creationId xmlns:a16="http://schemas.microsoft.com/office/drawing/2014/main" id="{E99E1DE6-56B9-E111-9975-C41900339D70}"/>
              </a:ext>
            </a:extLst>
          </p:cNvPr>
          <p:cNvCxnSpPr>
            <a:cxnSpLocks/>
          </p:cNvCxnSpPr>
          <p:nvPr/>
        </p:nvCxnSpPr>
        <p:spPr>
          <a:xfrm>
            <a:off x="16872937" y="9773508"/>
            <a:ext cx="5267305" cy="633200"/>
          </a:xfrm>
          <a:prstGeom prst="bentConnector3">
            <a:avLst>
              <a:gd name="adj1" fmla="val 50000"/>
            </a:avLst>
          </a:prstGeom>
          <a:ln w="76200">
            <a:solidFill>
              <a:srgbClr val="0143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63653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B5633-AAF6-DB77-C769-96F05A0D6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>
            <a:extLst>
              <a:ext uri="{FF2B5EF4-FFF2-40B4-BE49-F238E27FC236}">
                <a16:creationId xmlns:a16="http://schemas.microsoft.com/office/drawing/2014/main" id="{9F0429C2-8AFA-EA78-E136-612A8E79D9EE}"/>
              </a:ext>
            </a:extLst>
          </p:cNvPr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>
            <a:extLst>
              <a:ext uri="{FF2B5EF4-FFF2-40B4-BE49-F238E27FC236}">
                <a16:creationId xmlns:a16="http://schemas.microsoft.com/office/drawing/2014/main" id="{AED7BDAC-9112-06E9-BC13-35C79E511C2B}"/>
              </a:ext>
            </a:extLst>
          </p:cNvPr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CACCA97-5A98-B711-AA8E-BA58893C11A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>
              <a:extLst>
                <a:ext uri="{FF2B5EF4-FFF2-40B4-BE49-F238E27FC236}">
                  <a16:creationId xmlns:a16="http://schemas.microsoft.com/office/drawing/2014/main" id="{08FF7B26-C78F-822E-4068-5D00033457C9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CEE370CA-17A0-6102-01FA-7A905A74858B}"/>
              </a:ext>
            </a:extLst>
          </p:cNvPr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D2F9BDF2-05FC-988C-7A56-46F295D6863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4859A227-75F9-646F-1E62-876C099ADE21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>
            <a:extLst>
              <a:ext uri="{FF2B5EF4-FFF2-40B4-BE49-F238E27FC236}">
                <a16:creationId xmlns:a16="http://schemas.microsoft.com/office/drawing/2014/main" id="{164A40B3-E935-0AF9-4EEF-3BB1603235C1}"/>
              </a:ext>
            </a:extLst>
          </p:cNvPr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B5BBA930-A5F8-68C5-9541-34E1951E152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>
              <a:extLst>
                <a:ext uri="{FF2B5EF4-FFF2-40B4-BE49-F238E27FC236}">
                  <a16:creationId xmlns:a16="http://schemas.microsoft.com/office/drawing/2014/main" id="{E589A8B9-D31B-0E5E-5D3A-3E301E61F731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pic>
        <p:nvPicPr>
          <p:cNvPr id="29" name="Imagem 28">
            <a:extLst>
              <a:ext uri="{FF2B5EF4-FFF2-40B4-BE49-F238E27FC236}">
                <a16:creationId xmlns:a16="http://schemas.microsoft.com/office/drawing/2014/main" id="{C7F9416D-FBCA-5B47-27D9-9A93C47B77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B3870961-233E-75FC-FE33-6CDFCFF4D4C3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253404FF-553A-AA63-24E7-C297E7E78677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D5407A39-F060-3D7E-00E8-C14CD202414E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2BEF8174-D363-D93F-831C-49596594998C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D791DC83-E0E4-666E-B562-265DFEAA9E3E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357696F6-5880-73D5-B345-A6A118D785E2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A3A27C73-F3BA-4A2D-88B7-4D1F78354825}"/>
              </a:ext>
            </a:extLst>
          </p:cNvPr>
          <p:cNvSpPr txBox="1"/>
          <p:nvPr/>
        </p:nvSpPr>
        <p:spPr>
          <a:xfrm>
            <a:off x="10878401" y="368534"/>
            <a:ext cx="1408800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Direção Segura </a:t>
            </a:r>
            <a:r>
              <a:rPr lang="pt-BR" sz="4400" dirty="0">
                <a:solidFill>
                  <a:srgbClr val="000000"/>
                </a:solidFill>
                <a:latin typeface="Montserrat" pitchFamily="2" charset="0"/>
              </a:rPr>
              <a:t>(teórico) </a:t>
            </a:r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–</a:t>
            </a:r>
            <a:r>
              <a:rPr lang="pt-BR" sz="4400" dirty="0">
                <a:solidFill>
                  <a:srgbClr val="000000"/>
                </a:solidFill>
                <a:latin typeface="Montserrat" pitchFamily="2" charset="0"/>
              </a:rPr>
              <a:t> </a:t>
            </a:r>
            <a:br>
              <a:rPr lang="pt-BR" sz="4400" dirty="0">
                <a:solidFill>
                  <a:srgbClr val="000000"/>
                </a:solidFill>
                <a:latin typeface="Montserrat" pitchFamily="2" charset="0"/>
              </a:rPr>
            </a:br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CNH Categoria A,B,C,D,E 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9AB5D474-DD67-63FF-3BD9-CD140FBB9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37957" y="1748367"/>
            <a:ext cx="2301735" cy="133434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6BC46C68-CB36-73BA-24B2-3F0CDE3F930C}"/>
              </a:ext>
            </a:extLst>
          </p:cNvPr>
          <p:cNvSpPr txBox="1"/>
          <p:nvPr/>
        </p:nvSpPr>
        <p:spPr>
          <a:xfrm>
            <a:off x="11453954" y="2960457"/>
            <a:ext cx="9518610" cy="9633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✔ Direção Segura (teórico):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mprovação de treinamento teórico em direção segura, ministrado por instituição ou profissional habilitado, com carga horária definida, conteúdo compatível com a atividade e certificado válid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 (Direção Segura – teóric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rga horári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e realiza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stituição ou instrutor responsáve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ou validação instituciona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mpatibilidade com a função que envolve condução de veícul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Não é necessário a postagem da CNH. </a:t>
            </a:r>
          </a:p>
          <a:p>
            <a:endParaRPr lang="pt-BR" sz="4400" dirty="0"/>
          </a:p>
        </p:txBody>
      </p:sp>
    </p:spTree>
    <p:extLst>
      <p:ext uri="{BB962C8B-B14F-4D97-AF65-F5344CB8AC3E}">
        <p14:creationId xmlns:p14="http://schemas.microsoft.com/office/powerpoint/2010/main" val="20133788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B2CB81-BD31-EA23-9492-BB9D40BF0E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3E9A033D-4717-CD62-DA9B-09749A9302C5}"/>
              </a:ext>
            </a:extLst>
          </p:cNvPr>
          <p:cNvSpPr/>
          <p:nvPr/>
        </p:nvSpPr>
        <p:spPr>
          <a:xfrm>
            <a:off x="-409903" y="1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5FA6D9B9-6430-45AE-BFD4-ABA3129E58CE}"/>
              </a:ext>
            </a:extLst>
          </p:cNvPr>
          <p:cNvSpPr/>
          <p:nvPr/>
        </p:nvSpPr>
        <p:spPr>
          <a:xfrm>
            <a:off x="13613953" y="-1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B8532646-93E3-A859-186F-D4AB7E22C5C0}"/>
              </a:ext>
            </a:extLst>
          </p:cNvPr>
          <p:cNvSpPr/>
          <p:nvPr/>
        </p:nvSpPr>
        <p:spPr>
          <a:xfrm>
            <a:off x="10484321" y="-1"/>
            <a:ext cx="12853438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F26ABF2E-D20A-CF3E-220A-3C821C2CC631}"/>
              </a:ext>
            </a:extLst>
          </p:cNvPr>
          <p:cNvSpPr txBox="1"/>
          <p:nvPr/>
        </p:nvSpPr>
        <p:spPr>
          <a:xfrm>
            <a:off x="713819" y="592497"/>
            <a:ext cx="92640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Montserrat" pitchFamily="2" charset="0"/>
              </a:rPr>
              <a:t>EAR – Exerce Atividade Remunerad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0E4B544-B35A-0A7F-FDD9-CF383252A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20001" y="3146999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909892-C811-AB6F-3298-DB2D449D273D}"/>
              </a:ext>
            </a:extLst>
          </p:cNvPr>
          <p:cNvSpPr txBox="1"/>
          <p:nvPr/>
        </p:nvSpPr>
        <p:spPr>
          <a:xfrm>
            <a:off x="11728776" y="660687"/>
            <a:ext cx="110787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FFFF"/>
                </a:solidFill>
                <a:latin typeface="Montserrat" pitchFamily="2" charset="0"/>
              </a:rPr>
              <a:t>Critérios para aceitação do documento​</a:t>
            </a:r>
            <a:r>
              <a:rPr lang="pt-BR" sz="4000" dirty="0">
                <a:solidFill>
                  <a:srgbClr val="FFFFFF"/>
                </a:solidFill>
                <a:latin typeface="Montserrat" pitchFamily="2" charset="0"/>
              </a:rPr>
              <a:t>:</a:t>
            </a:r>
            <a:endParaRPr lang="pt-BR" sz="4000" b="1" dirty="0">
              <a:solidFill>
                <a:srgbClr val="FFFFFF"/>
              </a:solidFill>
              <a:latin typeface="Montserrat" pitchFamily="2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EC236CC6-0406-1ED7-CD4F-2469A27BA79E}"/>
              </a:ext>
            </a:extLst>
          </p:cNvPr>
          <p:cNvSpPr txBox="1"/>
          <p:nvPr/>
        </p:nvSpPr>
        <p:spPr>
          <a:xfrm>
            <a:off x="11493500" y="1847813"/>
            <a:ext cx="11549350" cy="48320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/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É necessário ter a observação no documento (verso) para qualquer categoria A, B, C, D, E se houver remuneração.</a:t>
            </a:r>
          </a:p>
          <a:p>
            <a:pPr rtl="0"/>
            <a:endParaRPr lang="pt-BR" sz="28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renovação ou inclusão, será aceito o protocolo desde que o condutor esteja amparado por um documento/protocolo oficial emitido pelo Detran do estado da CNH.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se documento provisório é válido enquanto o processo de emissão da nova CNH (com a observação EAR) não é finalizado, permitindo a regularidade da atividade profissional.</a:t>
            </a:r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3D850BD-56A9-82AE-EE83-38C0864675A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FF69195C-050D-E87F-77E7-0F8BBB15800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D7E5DFD-8349-EE55-1472-F1D7286BB133}"/>
              </a:ext>
            </a:extLst>
          </p:cNvPr>
          <p:cNvSpPr txBox="1"/>
          <p:nvPr/>
        </p:nvSpPr>
        <p:spPr>
          <a:xfrm>
            <a:off x="164591" y="4093997"/>
            <a:ext cx="9813303" cy="50167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É uma observação obrigatória na CNH, conforme o art. 147 do Código de Trânsito Brasileiro (CTB), para todo condutor que utiliza o veículo como fonte de renda (motoristas de app, táxi, entregadores, motoboys, caminhoneiros).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irigir sem EAR na CNH é infração gravíssima.</a:t>
            </a:r>
          </a:p>
        </p:txBody>
      </p:sp>
    </p:spTree>
    <p:extLst>
      <p:ext uri="{BB962C8B-B14F-4D97-AF65-F5344CB8AC3E}">
        <p14:creationId xmlns:p14="http://schemas.microsoft.com/office/powerpoint/2010/main" val="40759755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-409903" y="1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3613953" y="-1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0484321" y="-1"/>
            <a:ext cx="12853438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13819" y="592497"/>
            <a:ext cx="926407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Montserrat" pitchFamily="2" charset="0"/>
              </a:rPr>
              <a:t>TREINAMENTO PARA TRANSPORTE COLETIVO DE PASSAGEIROS 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20001" y="3146999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1728776" y="660687"/>
            <a:ext cx="110787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FFFF"/>
                </a:solidFill>
                <a:latin typeface="Montserrat" pitchFamily="2" charset="0"/>
              </a:rPr>
              <a:t>Critérios para aceitação do documento​</a:t>
            </a:r>
            <a:r>
              <a:rPr lang="pt-BR" sz="4000" dirty="0">
                <a:solidFill>
                  <a:srgbClr val="FFFFFF"/>
                </a:solidFill>
                <a:latin typeface="Montserrat" pitchFamily="2" charset="0"/>
              </a:rPr>
              <a:t>:</a:t>
            </a:r>
            <a:endParaRPr lang="pt-BR" sz="4000" b="1" dirty="0">
              <a:solidFill>
                <a:srgbClr val="FFFFFF"/>
              </a:solidFill>
              <a:latin typeface="Montserrat" pitchFamily="2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DBE7BD-B356-6FA6-5DE7-17DBF1FE3AB9}"/>
              </a:ext>
            </a:extLst>
          </p:cNvPr>
          <p:cNvSpPr txBox="1"/>
          <p:nvPr/>
        </p:nvSpPr>
        <p:spPr>
          <a:xfrm>
            <a:off x="11493500" y="1847813"/>
            <a:ext cx="11549350" cy="89870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rtl="0"/>
            <a:r>
              <a:rPr lang="pt-BR" sz="2800" b="1" i="1" u="sng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Emergência</a:t>
            </a:r>
          </a:p>
          <a:p>
            <a:pPr rtl="0"/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s requisitos para participar da formação são: ser maior de 21 anos; estar habilitado em uma das categorias A, B, C, D ou E; não estar cumprindo pena de suspensão do direito de dirigir, cassação da CNH, pena decorrente de crime de trânsito e não estar impedido judicialmente de exercer seus direitos.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endParaRPr lang="pt-BR" sz="28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NTEÚDO PROGRAMÁTICO  DO TREINAMENTO</a:t>
            </a:r>
          </a:p>
          <a:p>
            <a:pPr rtl="0"/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trânsito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fensiva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primeiros socorros, respeito ao meio ambiente e convívio social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relacionamento interpessoal.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ntre os tópicos abordados no curso, estão cuidados com a vítima ou o enfermo, cuidados especiais que devem ser dispensados aos passageiros e as características dos usuários desse tipo de veículo.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endParaRPr lang="pt-BR" dirty="0"/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0767C6C-85BF-DDF0-568C-2D1ECC3866A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2E4E88C4-F063-3D96-209C-C6A54C083C5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64591" y="4093997"/>
            <a:ext cx="9637777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ertificado de curso da Resolução 168 para motorista profissionais, expedido por instituição de ensino reconhecida.</a:t>
            </a:r>
          </a:p>
          <a:p>
            <a:pPr algn="ctr"/>
            <a:endParaRPr lang="pt-BR" sz="3200" dirty="0">
              <a:solidFill>
                <a:srgbClr val="11111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6120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-120020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3838994" y="-140666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0829900" y="-161314"/>
            <a:ext cx="12853438" cy="13716001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13819" y="706619"/>
            <a:ext cx="1034989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EINAMENTO PARA TRANSPORTE COLETIVO DE PASSAGEIROS ​/ CARG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713819" y="2798274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1717220" y="919746"/>
            <a:ext cx="1107879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​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DBE7BD-B356-6FA6-5DE7-17DBF1FE3AB9}"/>
              </a:ext>
            </a:extLst>
          </p:cNvPr>
          <p:cNvSpPr txBox="1"/>
          <p:nvPr/>
        </p:nvSpPr>
        <p:spPr>
          <a:xfrm>
            <a:off x="11264604" y="2153798"/>
            <a:ext cx="13385386" cy="100027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rtl="0"/>
            <a:r>
              <a:rPr lang="pt-BR" sz="2800" b="1" u="sng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Carga Indivisível </a:t>
            </a:r>
          </a:p>
          <a:p>
            <a:pPr rtl="0"/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Os requisitos exigidos do motorista são: ser maior de 21 anos; estar habilitado, no mínimo, na categoria C; não estar cumprindo pena de suspensão do direito de dirigir, cassação da CNH, pena decorrente de crime de trânsito, nem estar impedido judicialmente de exercer seus direitos. 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NTEÚDO PROGRÁMATICO DO TREINAMENTO </a:t>
            </a:r>
            <a:endParaRPr lang="pt-BR" sz="28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rtl="0"/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trânsito (que trata, dentre outros temas, da responsabilidade do condutor durante o transporte e da documentação e simbologia sobre os produtos transportados)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fensiva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primeiros socorros, respeito ao meio ambiente e prevenção de incêndio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movimentação de carga (que trata das definições, dos efeitos e das consequências do tráfego desse tipo de carga e da autorização especial de trânsito, do comportamento preventivo do condutor para cada tipo de produto transportado e dos procedimentos em caso de emergência). </a:t>
            </a:r>
            <a:endParaRPr lang="pt-BR" sz="2800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endParaRPr lang="pt-BR" sz="2800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B24EE612-CC88-D10A-FB9F-7C6EC28ABCB7}"/>
              </a:ext>
            </a:extLst>
          </p:cNvPr>
          <p:cNvSpPr txBox="1"/>
          <p:nvPr/>
        </p:nvSpPr>
        <p:spPr>
          <a:xfrm>
            <a:off x="401014" y="6566514"/>
            <a:ext cx="9734574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endParaRPr lang="pt-BR" sz="2800" b="1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b="1" dirty="0">
                <a:solidFill>
                  <a:srgbClr val="11111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Carga Indivisível:</a:t>
            </a:r>
          </a:p>
          <a:p>
            <a:pPr rtl="0"/>
            <a:endParaRPr lang="pt-BR" sz="3200" b="1" dirty="0">
              <a:solidFill>
                <a:srgbClr val="111111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São consideradas cargas indivisíveis as cargas unitárias, materiais, implementos, partes estruturais ou partes de máquinas e equipamentos de dimensões e pesos excedentes. Transportar esse tipo de material é uma operação que tem alguns riscos e, por isso, requer cuidados especiais. Além disso, são necessárias autorizações</a:t>
            </a:r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A70A3BA-1CF5-69B4-4A23-7B6F36090F6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35F2B2A8-0E3A-C6AC-EC2C-E8747AC7EFC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414773" y="3478232"/>
            <a:ext cx="10241560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ertificado de curso da </a:t>
            </a:r>
            <a:r>
              <a:rPr lang="pt-BR" sz="3200" i="0" dirty="0" err="1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esulação</a:t>
            </a:r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168 para motorista profissionais, expedido por instituição de ensino reconhecida.</a:t>
            </a:r>
          </a:p>
          <a:p>
            <a:pPr algn="ctr"/>
            <a:endParaRPr lang="pt-BR" sz="3200" dirty="0">
              <a:solidFill>
                <a:srgbClr val="11111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90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-409903" y="1"/>
            <a:ext cx="2466920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pt-BR" sz="1800">
                <a:solidFill>
                  <a:schemeClr val="bg1"/>
                </a:solidFill>
                <a:effectLst/>
              </a:rPr>
              <a:t>São consideradas cargas indivisíveis as cargas unitárias, materiais, implementos, partes estruturais ou partes de máquinas e equipamentos de dimensões e pesos excedentes. Transportar esse tipo de material é uma operação que tem alguns riscos e, por isso, requer cuidados especiais. Além disso, são necessárias autorizações especiais para o transporte. 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3625971" y="-6947"/>
            <a:ext cx="1081099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0945091" y="-6947"/>
            <a:ext cx="12853438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rtl="0"/>
            <a:endParaRPr lang="pt-BR" sz="3200" dirty="0">
              <a:effectLst/>
              <a:ea typeface="Calibri"/>
              <a:cs typeface="Calibri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18349" y="592497"/>
            <a:ext cx="1069204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>
                <a:solidFill>
                  <a:srgbClr val="111111"/>
                </a:solidFill>
                <a:latin typeface="Montserrat" pitchFamily="2" charset="0"/>
              </a:rPr>
              <a:t>TREINAMENTO PARA TRANSPORTE COLETIVO DE PASSAGEIROS ​/ CARGA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275545" y="6923110"/>
            <a:ext cx="1041915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3200" b="1" i="0" dirty="0">
              <a:solidFill>
                <a:srgbClr val="54676D"/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b="1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Produtos Perigosos</a:t>
            </a:r>
          </a:p>
          <a:p>
            <a:pPr rtl="0"/>
            <a:endParaRPr lang="pt-BR" sz="3200" b="1" dirty="0"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ssa formação é exigida para quem quer trabalhar como motorista no transporte de produtos perigosos. Esse é o caso, por exemplo, de líquidos inflamáveis, explosivos, gases comprimidos, substâncias radioativas, entre outros. </a:t>
            </a:r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20001" y="3146999"/>
            <a:ext cx="1683929" cy="16165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1601748" y="1437739"/>
            <a:ext cx="110787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DBE7BD-B356-6FA6-5DE7-17DBF1FE3AB9}"/>
              </a:ext>
            </a:extLst>
          </p:cNvPr>
          <p:cNvSpPr txBox="1"/>
          <p:nvPr/>
        </p:nvSpPr>
        <p:spPr>
          <a:xfrm>
            <a:off x="-1011844" y="11820928"/>
            <a:ext cx="11549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BF8093F-28D4-4CF2-F693-859133BE1A34}"/>
              </a:ext>
            </a:extLst>
          </p:cNvPr>
          <p:cNvSpPr txBox="1"/>
          <p:nvPr/>
        </p:nvSpPr>
        <p:spPr>
          <a:xfrm>
            <a:off x="11250793" y="2347655"/>
            <a:ext cx="1277812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u="sng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rso para Condutores de Veículos de Transporte de Produtos Perigosos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requisitos para fazer o curso são: ser maior de 21 anos; estar habilitado na categoria B, C, D ou E; não estar cumprindo pena de suspensão do direito de dirigir, cassação da CNH, pena decorrente de crime de trânsito e não estar impedido judicialmente de exercer seus direitos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0D47DA37-D3E7-6E2C-CAF1-8A341831BAA4}"/>
              </a:ext>
            </a:extLst>
          </p:cNvPr>
          <p:cNvSpPr txBox="1"/>
          <p:nvPr/>
        </p:nvSpPr>
        <p:spPr>
          <a:xfrm>
            <a:off x="11325552" y="6143818"/>
            <a:ext cx="13052098" cy="78483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nteúdo programático do treinamento</a:t>
            </a:r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trânsito (que trata sobre temas, como legislação específica e normas sobre o transporte de produtos perigosos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onsabilidad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os condutores durante o transporte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cumenta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e simbologia sobre os produtos transportados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istrador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instantâneo e inalterável de velocidade e tempo; infrações e penalidades)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fensiva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de primeiros socorros, respeito ao meio ambiente e prevenção de incêndio; 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85800" indent="-685800">
              <a:buFont typeface="Arial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8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movimentação de produtos perigosos (que trata das classificações dos produtos, sua simbologia, reações químicas, regulamentações, efeitos de cada um sobre o meio ambiente, além do comportamento preventivo e dos procedimentos em caso de emergência). </a:t>
            </a: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pPr algn="ctr"/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Imagem 1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308E468-E19C-6912-351D-E2C2C4A83A1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FEC47EC1-255D-3411-80CA-EAEB61D8F8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295946" y="3869174"/>
            <a:ext cx="10241560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ertificado de curso da </a:t>
            </a:r>
            <a:r>
              <a:rPr lang="pt-BR" sz="3200" i="0" dirty="0" err="1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Resulação</a:t>
            </a:r>
            <a:r>
              <a:rPr lang="pt-BR" sz="3200" i="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168 para motorista profissionais, expedido por instituição de ensino reconhecida.</a:t>
            </a:r>
          </a:p>
          <a:p>
            <a:pPr algn="ctr"/>
            <a:endParaRPr lang="pt-BR" sz="3200" dirty="0">
              <a:solidFill>
                <a:srgbClr val="11111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2821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9569" y="2178558"/>
            <a:ext cx="82153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FICHA DE ENTREGA DE EPI'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667385" y="4384624"/>
            <a:ext cx="756221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É um documento que atesta a regularidade do fornecimento pela empresa de EPI ( Equipamento de Proteção Individual ) aos empregados envolvidos na prestação de serviço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85" y="3625108"/>
            <a:ext cx="2301735" cy="13343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8282683-1131-A93D-F477-3DADC8C9F2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CCB4271-0DC6-AD9C-2DE8-E64197E1B1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3" name="Picture 2" descr="Modelo de Ficha para Entrega de EPI's | PDF">
            <a:extLst>
              <a:ext uri="{FF2B5EF4-FFF2-40B4-BE49-F238E27FC236}">
                <a16:creationId xmlns:a16="http://schemas.microsoft.com/office/drawing/2014/main" id="{A7F31D5C-B7CD-E32C-F598-690979A151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435" y="1883156"/>
            <a:ext cx="13657532" cy="983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46256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915923" y="1897952"/>
            <a:ext cx="12188825" cy="85869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Razão Social ou CNPJ;</a:t>
            </a:r>
            <a:endParaRPr lang="pt-BR" sz="3200" kern="100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Nome completo do colaborador;​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CPF do colaborador;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Função ou cargo do colaborador;​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Setor (Se houver);​</a:t>
            </a:r>
          </a:p>
          <a:p>
            <a:pPr marL="457200" lvl="0" indent="-4572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pt-BR" sz="3200" kern="100" dirty="0">
                <a:latin typeface="Verdana" panose="020B0604030504040204" pitchFamily="34" charset="0"/>
                <a:ea typeface="Verdana" panose="020B0604030504040204" pitchFamily="34" charset="0"/>
                <a:cs typeface="Times New Roman"/>
              </a:rPr>
              <a:t>Data de admissão do colaborador;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Quantidade ​de EPIs entregues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scrição dos EPIs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a entrega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 – Certificado de Aprovação dos EPI ‘s;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empregado em cada EPI recebido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ermo de Responsabilidade assinado pelo funcionário, quanto as orientações recebidas e responsabilidade pelo uso, guarda e conservação.</a:t>
            </a:r>
            <a:endParaRPr lang="pt-BR" sz="3200" kern="100" dirty="0">
              <a:latin typeface="Verdana" panose="020B0604030504040204" pitchFamily="34" charset="0"/>
              <a:ea typeface="Verdana" panose="020B0604030504040204" pitchFamily="34" charset="0"/>
              <a:cs typeface="Times New Roman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915923" y="687646"/>
            <a:ext cx="140880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FICHA DE ENTREGA DE EPI'S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9718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-1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0E65F05-3019-A112-6E8B-797FD3D2E332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681DDBF-6143-AAB2-A843-965E4812A138}"/>
              </a:ext>
            </a:extLst>
          </p:cNvPr>
          <p:cNvSpPr/>
          <p:nvPr/>
        </p:nvSpPr>
        <p:spPr>
          <a:xfrm>
            <a:off x="11093456" y="0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07743" y="1269480"/>
            <a:ext cx="9264075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COMISSÃO INTERNA DE PREVENÇÃO DE ACIDENTES​ </a:t>
            </a:r>
          </a:p>
          <a:p>
            <a:endParaRPr lang="pt-BR" sz="4400" b="1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PRESENTANTE NOMEADO 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007743" y="5967824"/>
            <a:ext cx="8769278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regulamentadora ​- NR estabelece os parâmetros e os requisitos da Comissão Interna de Prevenção de Acidentes - CIPA tendo por objetivo a prevenção de acidentes e doenças relacionadas ao trabalho, de modo a tornar compatível permanentemente o trabalho com a preservação da vida e promoção do trabalhador.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228" y="4747355"/>
            <a:ext cx="1683929" cy="97619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377C39B-C79F-C301-18E7-8814329915E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0311FC8E-A33A-5936-D579-80AABFF87D1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F00F6F73-34F5-3AAB-34BC-EBB82C8692E7}"/>
              </a:ext>
            </a:extLst>
          </p:cNvPr>
          <p:cNvSpPr txBox="1"/>
          <p:nvPr/>
        </p:nvSpPr>
        <p:spPr>
          <a:xfrm>
            <a:off x="12008605" y="117988"/>
            <a:ext cx="11361302" cy="14203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​ (Certificado)</a:t>
            </a:r>
          </a:p>
          <a:p>
            <a:endParaRPr lang="pt-BR" sz="20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7.4 O treinamento deve ter carga horária mínima de​: </a:t>
            </a:r>
            <a:b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“ De acordo com Grau de risco da empresa,” Será considerado a carga horária do treinamento. </a:t>
            </a:r>
          </a:p>
          <a:p>
            <a:endParaRPr lang="pt-BR" sz="23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(oito) horas para estabelecimentos de grau de risco 1​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 (doze) horas para estabelecimentos de grau de risco 2​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 (dezesseis) horas para estabelecimentos de grau de risco 3​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23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 (vinte) horas para estabelecimentos de grau de risco 4. 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3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</a:t>
            </a:r>
          </a:p>
          <a:p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udo do ambiente, das condições de trabalho, bem como dos riscos originados do processo produtivo; 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Noções sobre acidentes e doenças relacionadas ao trabalho decorrentes das condições de trabalho e da exposição aos riscos existentes no estabelecimento e suas medidas de prevenção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odologia de investigação e análise de acidentes e doenças relacionadas ao trabalho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ípios gerais de higiene do trabalho e de medidas de prevenção dos riscos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 sobre as legislações trabalhista e previdenciária relativas à segurança e saúde no trabalho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Noções sobre a inclusão de pessoas com deficiência e reabilitados nos processos de trabalho; 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ganização da CIPA e outros assuntos necessários ao exercício das atribuições da Comissão; e prevenção e combate ao assédio sexual e a outras formas de violência no trabalh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Caso seja o integrante do SESMT fica dispensado do treinamento da CIPA. </a:t>
            </a:r>
            <a:r>
              <a:rPr lang="pt-BR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tem 5.7.4.5</a:t>
            </a: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326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1090650" y="2314126"/>
            <a:ext cx="12188825" cy="994118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dados da empresa: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 empresa através de CNPJ ou Razão social</a:t>
            </a:r>
          </a:p>
          <a:p>
            <a:pPr marL="571500" indent="-571500">
              <a:buFont typeface="Arial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dos do funcionári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nção x PG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scos ocupacionai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as atividades de acordo com PGR DA EMPRESA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ientação sobre EPI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Funcionário 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ientações de seguranç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unição em caso de descumprimento das orientações de saúde e segurança,  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DIDAS de controle de risco existe na empres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a empres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TA:</a:t>
            </a: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ve ser elaborado sempre que houver mudança de função e ou / mudança de risco ocupacional. 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01 - SEGURANÇA E SAÚDE NO TRABALHO (ORDEM DE SERVIÇO)​</a:t>
            </a:r>
          </a:p>
        </p:txBody>
      </p:sp>
      <p:pic>
        <p:nvPicPr>
          <p:cNvPr id="22" name="Imagem 21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3253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E5CB87-EA57-FA9C-577A-9E8F58DF16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D3EBCC28-1844-E2AF-252B-06C269846DE5}"/>
              </a:ext>
            </a:extLst>
          </p:cNvPr>
          <p:cNvSpPr/>
          <p:nvPr/>
        </p:nvSpPr>
        <p:spPr>
          <a:xfrm>
            <a:off x="0" y="-1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141F1655-F4ED-F75B-EC15-8450E91DA05A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E4CAE4C1-CAF7-CE10-E2DB-BA907616AD03}"/>
              </a:ext>
            </a:extLst>
          </p:cNvPr>
          <p:cNvSpPr/>
          <p:nvPr/>
        </p:nvSpPr>
        <p:spPr>
          <a:xfrm>
            <a:off x="11093456" y="0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74B321C6-A0F3-725E-1BC8-4CF4D00F278F}"/>
              </a:ext>
            </a:extLst>
          </p:cNvPr>
          <p:cNvSpPr txBox="1"/>
          <p:nvPr/>
        </p:nvSpPr>
        <p:spPr>
          <a:xfrm>
            <a:off x="809639" y="1334457"/>
            <a:ext cx="100857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ELEIÇÃO/DESIGNADO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DB9E2429-2573-061A-B480-E0212A239DD2}"/>
              </a:ext>
            </a:extLst>
          </p:cNvPr>
          <p:cNvSpPr txBox="1"/>
          <p:nvPr/>
        </p:nvSpPr>
        <p:spPr>
          <a:xfrm>
            <a:off x="1007743" y="3801583"/>
            <a:ext cx="8769278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 caso da atual CIPA é obrigatório a inserção da ata de posse neste campo. </a:t>
            </a:r>
          </a:p>
          <a:p>
            <a:endParaRPr lang="pt-BR" sz="32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so não possua CIPA, será aceito neste campo uma declaração dispensando a obrigatoriedade de constituição de Comissão Interna de Prevenção de Acidentes (CIPA), não ficando dispensado o cumprimento do item 5.4.13. 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DAFF1009-F764-87E1-F5EF-896DCCAFB5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743" y="3292783"/>
            <a:ext cx="1683929" cy="97619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49A8BC1-608F-5698-9458-402A65683E6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DB8AC998-0AAF-E85C-4D57-AE71FDEECF9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2443353" y="1334458"/>
            <a:ext cx="92640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DESIGNADO CIPA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13E5276-52B6-0D99-C617-F707C908BC03}"/>
              </a:ext>
            </a:extLst>
          </p:cNvPr>
          <p:cNvSpPr txBox="1"/>
          <p:nvPr/>
        </p:nvSpPr>
        <p:spPr>
          <a:xfrm>
            <a:off x="12188825" y="3801582"/>
            <a:ext cx="10452367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4.13 Quando o estabelecimento não se enquadrar no Quadro I e não for atendido por SESMT, nos termos da Norma Regulamentadora n° 4 (NR-04), a organização nomeará um representante da organização dentre seus empregados para auxiliar na execução das ações de prevenção em segurança e saúde no trabalho, podendo ser adotados mecanismos de participação dos empregados, por meio de negociação coletiva.</a:t>
            </a:r>
          </a:p>
          <a:p>
            <a:endParaRPr lang="pt-BR" sz="32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rá aceito uma carta/declaração de nomeação de designado de </a:t>
            </a:r>
            <a:r>
              <a:rPr lang="pt-BR" sz="3200" dirty="0" err="1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ipa</a:t>
            </a: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2E015C54-424C-2D7B-A4BF-0A26DDF1F3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43774" y="2903931"/>
            <a:ext cx="1683929" cy="9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8346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0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987379" y="1670612"/>
            <a:ext cx="1240289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5 – COMISSÃO INTERNA DE PREVENÇÃO DE ACIDENTES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1461966" y="4247452"/>
            <a:ext cx="828960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tenda seus pontos e atribuições da CIPA​</a:t>
            </a:r>
          </a:p>
          <a:p>
            <a:endParaRPr lang="pt-BR" sz="3200" b="1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r os riscos no ambiente e processos de trabalho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laborar planos de trabalho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ar ações de saúde e segurança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zer verificações periódicas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liar cumprimento das metas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mover informações relevantes aos trabalhadores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ar junto ao SESMT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46859" y="3117162"/>
            <a:ext cx="1683929" cy="97619"/>
          </a:xfrm>
          <a:prstGeom prst="rect">
            <a:avLst/>
          </a:prstGeom>
        </p:spPr>
      </p:pic>
      <p:pic>
        <p:nvPicPr>
          <p:cNvPr id="15362" name="Picture 2">
            <a:extLst>
              <a:ext uri="{FF2B5EF4-FFF2-40B4-BE49-F238E27FC236}">
                <a16:creationId xmlns:a16="http://schemas.microsoft.com/office/drawing/2014/main" id="{43A05889-49F7-4800-B2C7-C690223E8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1567" y="4315778"/>
            <a:ext cx="14128358" cy="703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36197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43253" y="2036830"/>
            <a:ext cx="89869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>
                <a:solidFill>
                  <a:srgbClr val="000000"/>
                </a:solidFill>
                <a:latin typeface="Montserrat" pitchFamily="2" charset="0"/>
              </a:rPr>
              <a:t>NR 6 - EQUIPAMENTO DE PROTEÇÃO INDIVIDUAL – EPI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360270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110218" y="3963055"/>
            <a:ext cx="8732069" cy="72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>
                <a:solidFill>
                  <a:srgbClr val="000000"/>
                </a:solidFill>
                <a:latin typeface="Montserrat" pitchFamily="2" charset="0"/>
              </a:rPr>
              <a:t>Quais são os direitos e deveres do trabalhador previstos na NR 6 ?​</a:t>
            </a:r>
          </a:p>
          <a:p>
            <a:endParaRPr lang="pt-BR" sz="3600">
              <a:solidFill>
                <a:srgbClr val="000000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Exigência do fornecimento dos equipamentos nos termos da lei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Utilização correta dos equipamentos de proteção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Comunicação ao empregador sobre alterações no EPI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Responsabilização pelo armazenamento e pela conservação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>
                <a:solidFill>
                  <a:srgbClr val="000000"/>
                </a:solidFill>
                <a:latin typeface="Montserrat" pitchFamily="2" charset="0"/>
              </a:rPr>
              <a:t>Adquirir os EPIs adequados.</a:t>
            </a:r>
            <a:endParaRPr lang="pt-BR" sz="6000">
              <a:solidFill>
                <a:srgbClr val="000000"/>
              </a:solidFill>
              <a:latin typeface="Montserrat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889077" y="2292011"/>
            <a:ext cx="11545320" cy="9448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Montserrat" pitchFamily="2" charset="0"/>
              </a:rPr>
              <a:t>Quais são as principais responsabilidades do empregador?​</a:t>
            </a:r>
          </a:p>
          <a:p>
            <a:endParaRPr lang="pt-BR" sz="6000" dirty="0">
              <a:solidFill>
                <a:schemeClr val="bg1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Adquirir o EPI adequado ao risco de cada atividade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Exigir o uso de EPIs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Fornece ao trabalhador somente o equipamento com o Certificado de Aprovaçã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Treinamento sobre o uso adequado do EPI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Armazenamento corret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Substituir imediatamente o EPI, quando danificado ou extraviado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Responsabilizar-se pela higienização e manutenção periódica;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Montserrat" pitchFamily="2" charset="0"/>
              </a:rPr>
              <a:t>Comunicar o MTE qualquer irregularidade observada no EPI.​</a:t>
            </a:r>
            <a:endParaRPr lang="pt-BR" sz="66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606B445-FBF0-7B08-23EA-771473460B4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23805057-26B6-8778-79E7-2816B28A3FD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2062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2585032" y="-1"/>
            <a:ext cx="11792618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930230" y="0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49570" y="625964"/>
            <a:ext cx="898697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6 - EQUIPAMENTO DE PROTEÇÃO INDIVIDUAL – EPI</a:t>
            </a:r>
            <a:r>
              <a:rPr lang="pt-BR" sz="4000" b="1" dirty="0">
                <a:solidFill>
                  <a:srgbClr val="000000"/>
                </a:solidFill>
                <a:latin typeface="Montserrat" pitchFamily="2" charset="0"/>
              </a:rPr>
              <a:t>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51" y="268290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334243" y="3162454"/>
            <a:ext cx="9580384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É a Norma Regulamentadora que estabelece as medidas que devem ser tomadas em relação à aquisição, à distribuição e à utilização de Equipamentos de Proteção Individual (EPI) nas empresas. Por EPI, entende-se todo dispositivo ou produto de uso individual que se destina à proteção do profissional.​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6.7.2.1 A organização deve realizar treinamento acerca do EPI a ser fornecido, quando as características do EPI requeiram, observada a atividade realizada e as exigências estabelecidas em normas regulamentadoras e nos dispositivos legais. 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242028" y="1386734"/>
            <a:ext cx="12948817" cy="90794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​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 ou comprovante de treinamento.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, local de realização do treinamento​ e carga horári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, a qualificação do(s) instrutor(es) (formação, cargo e/ou função) e assinatura​;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ssinatura dos empregados participantes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+mn-lt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o equipamento e seus componente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sco ocupacional contra o qual o EPI oferece prote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trições e limitações de prote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ma adequada de uso e ajuste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nutenção e substituição; 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idados de limpeza, higienização, guarda e conservação. 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C1A241EE-A0F9-2655-5A58-5CD7A0DA449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3E60553-4253-8030-4C39-8EDAE18E3C4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0075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37200" y="979883"/>
            <a:ext cx="882784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10 - SEGURANÇA EM INSTALAÇÕES E SERVIÇOS EM ELETRICIDADE (BÁSICO)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3199" y="2979012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537200" y="3202135"/>
            <a:ext cx="8418508" cy="526297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</a:t>
            </a:r>
          </a:p>
          <a:p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a NR 10 - Segurança em Instalações e Serviços em Eletricidade (Capacitação e Habilitação)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arga horária inicial: 40 horas de treinament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alidade 02 (Dois) an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Data e local da realização do treinament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ssinatura do funcionári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ndicação, identificação do Instrutor e assinatura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0794057" y="656302"/>
            <a:ext cx="13234858" cy="12403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Mínima: </a:t>
            </a:r>
          </a:p>
          <a:p>
            <a:endParaRPr lang="pt-BR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- introdução à segurança com eletricidad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- Riscos em instalações e serviços com eletricidade: a) o choque elétrico, mecanismos e efeitos; b) arcos elétricos; queimaduras e quedas; c) campos eletromagnétic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 - Técnicas de Análise de Risc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 - Medidas de Controle do Risco Elétrico: a)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energizarão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b) aterramento funcional (TN / TT / IT); de proteção; temporário; c)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quipotencialização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; d) seccionamento automático da alimentação; e) dispositivos a corrente de fuga; f) extra baixa tensão; g) barreiras e invólucros; h) bloqueios e impedimentos; i) obstáculos e anteparos; j) isolamento das partes vivas; k) isolação dupla ou reforçada; l) colocação fora de alcance; m) separação elétric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 - Normas Técnicas Brasileiras - NBR da ABNT: NBR-5410, NBR 14039 e outras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 - Regulamentações do MTE: a)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; b) NR-10 (Segurança em Instalações e Serviços com Eletricidade)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c) qualificação; habilitação; capacitação e autorizaçã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 - Equipamentos de proteção coletiv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- Equipamentos de proteção individu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 - Rotinas de trabalho - Procedimentos. a) instalações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energizada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; b) liberação para serviços; c) sinalização; d) inspeções de áreas, serviços, ferramental e equipamento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 - Documentação de instalações elétric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 - Riscos adicionais: a) altura; b) ambientes confinados; c) áreas classificadas; d) umidade; e) condições atmosféric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 - Proteção e combate a incêndios: a) noções básicas; b) medidas preventivas; c) métodos de extinção; d) prática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 - Acidentes de origem elétrica: a) causas diretas e indiretas; b) discussão de casos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4 -  Primeiros socorros: a) noções sobre lesões; b) priorização do atendimento; c) aplicação de respiração artificial; d) massagem cardíaca; e) técnicas para remoção e transporte de acidentados; f) prátic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 - Responsabilidades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81F3E4EF-87DA-FE60-6A4A-BB12577421E9}"/>
              </a:ext>
            </a:extLst>
          </p:cNvPr>
          <p:cNvSpPr txBox="1"/>
          <p:nvPr/>
        </p:nvSpPr>
        <p:spPr>
          <a:xfrm>
            <a:off x="367196" y="10743711"/>
            <a:ext cx="8588512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dirty="0">
                <a:latin typeface="Verdana" panose="020B0604030504040204" pitchFamily="34" charset="0"/>
                <a:ea typeface="Verdana" panose="020B0604030504040204" pitchFamily="34" charset="0"/>
              </a:rPr>
              <a:t>Nota: </a:t>
            </a:r>
          </a:p>
          <a:p>
            <a:endParaRPr lang="pt-B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Para a verificação do documento no contrato de grandes paradas  deve ser confronttado a informação do treinamento disponibilizado na O.S.</a:t>
            </a:r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2DC3671-35A6-A377-0B78-552B6DECC48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F80A68A-B476-3625-3C68-CBAF81A763A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9512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495063" y="1065048"/>
            <a:ext cx="882784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0 - SEGURANÇA EM INSTALAÇÕES E SERVIÇOS EM ELETRICIDADE (SEP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806" y="3334009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739245" y="3862722"/>
            <a:ext cx="779078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É pré-requisito para frequentar este curso complementar: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er participado, com aproveitamento satisfatório, do curso básico definido anteriormente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rga horária mínima - 40h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0424160" y="357606"/>
            <a:ext cx="14448830" cy="13049726"/>
          </a:xfrm>
          <a:prstGeom prst="rect">
            <a:avLst/>
          </a:prstGeom>
          <a:solidFill>
            <a:srgbClr val="043765"/>
          </a:solidFill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Mínima: </a:t>
            </a:r>
          </a:p>
          <a:p>
            <a:endParaRPr lang="pt-BR" sz="2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Organização do Sistema Elétrico de Potência - SEP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Organização do trabalho: a) programação e planejamento dos serviços; b) trabalho em equipe;  c) prontuário e cadastro das instalações; d) métodos de trabalho; e </a:t>
            </a:r>
            <a:r>
              <a:rPr lang="pt-BR" sz="27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 comunicaçã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Aspectos comportamentai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 Condições impeditivas para serviç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Riscos típicos no SEP e sua prevenção : a) proximidade e contatos com partes energizadas; b) indução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) descargas atmosféricas; d) estática; e) campos elétricos e magnéticos; f) comunicação e identificação; e g) trabalhos em altura, máquinas e equipamentos especiai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 Técnicas de análise de Risco no SEP 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 Procedimentos de trabalho - análise e discussão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. Técnicas de trabalho sob tensão:  a) em linha viva; b) ao potencial; c) em áreas internas; d) trabalho a distância; e) trabalhos noturnos; e f) ambientes subterrâne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. Equipamentos e ferramentas de trabalho (escolha, uso, conservação, verificação, ensaios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. Sistemas de proteção coletiva 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. Equipamentos de proteção individual 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. Posturas e vestuários de trabalho 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. Segurança com veículos e transporte de pessoas, materiais e equipamento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4. Sinalização e isolamento de áreas de trabalho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. Liberação de instalação para serviço e para operação e uso 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. Treinamento em técnicas de remoção, atendimento, transporte de acidentado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7. Acidentes típicos - Análise, discussão, medidas de proteçã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8. Responsabilidades .</a:t>
            </a:r>
          </a:p>
        </p:txBody>
      </p:sp>
      <p:pic>
        <p:nvPicPr>
          <p:cNvPr id="10" name="Imagem 9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98B8498-10E9-8520-4162-BA100661888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B626C9EC-2381-BF60-1755-453B7125131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3D9281C8-0E4A-B12A-577E-51E5FD22838E}"/>
              </a:ext>
            </a:extLst>
          </p:cNvPr>
          <p:cNvSpPr txBox="1"/>
          <p:nvPr/>
        </p:nvSpPr>
        <p:spPr>
          <a:xfrm>
            <a:off x="709030" y="9452771"/>
            <a:ext cx="7790784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Nota: </a:t>
            </a:r>
          </a:p>
          <a:p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Para a verificação do documento no contrato de grandes paradas  deve ser confrontado a informação do treinamento disponibilizado na O.S</a:t>
            </a:r>
            <a:r>
              <a:rPr lang="pt-BR" sz="2400" dirty="0">
                <a:latin typeface="Montserra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992887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0"/>
            <a:ext cx="1204622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913542" y="0"/>
            <a:ext cx="14959447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14759" y="846760"/>
            <a:ext cx="990813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0: TRABALHO COM ELETRICIDADE EM ÁREA CLASSIFICAD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922" y="298081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652094" y="3341840"/>
            <a:ext cx="9110013" cy="10002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o áreas classificadas são tratadas pela NR-10?</a:t>
            </a:r>
          </a:p>
          <a:p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área classificada NR 10 é uma classificação para instalações elétricas especiais, ou seja, em locais sujeitos a explosão, incêndio, e outros sinistros e, para este tipo de instalação, a NR10 prevê uma série de requisitos técnicos de proteção onde a vida humana é o principal objeto a ser protegido preventivamente.</a:t>
            </a: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se treinamento deverá ser </a:t>
            </a:r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pecific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para as áreas atmosféricas com possibilidades de explosão.  Seguido a ABNT vigente / </a:t>
            </a:r>
            <a:r>
              <a:rPr lang="pt-BR" sz="2800" i="0" dirty="0">
                <a:solidFill>
                  <a:srgbClr val="FFFFFF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NBR IEC 60079-14. </a:t>
            </a: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Juntamente com o curso de NR 10 Básico onde cita no conteúdo  programático :</a:t>
            </a:r>
            <a:r>
              <a:rPr lang="pt-BR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 - Riscos adicionais: a) altura; b) ambientes confinados; c) áreas classificadas; d) umidade; e) condições atmosféricas.</a:t>
            </a:r>
          </a:p>
          <a:p>
            <a:endParaRPr lang="pt-BR" sz="2800" dirty="0">
              <a:solidFill>
                <a:srgbClr val="FFFFFF"/>
              </a:solidFill>
              <a:latin typeface="Montserrat" pitchFamily="2" charset="0"/>
            </a:endParaRPr>
          </a:p>
          <a:p>
            <a:endParaRPr lang="pt-BR" sz="2800" dirty="0">
              <a:solidFill>
                <a:srgbClr val="FFFFFF"/>
              </a:solidFill>
              <a:latin typeface="Montserrat" pitchFamily="2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8877110" y="1651073"/>
            <a:ext cx="5748210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BR" sz="2800" b="1">
                <a:solidFill>
                  <a:srgbClr val="111111"/>
                </a:solidFill>
                <a:latin typeface="Montserrat"/>
              </a:rPr>
              <a:t>Tabela de raios de delimitação de zonas de risco, controlada e livre. 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771D90F-8A00-0754-8C8C-0BD07CD1CE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24780" y="3114250"/>
            <a:ext cx="5252870" cy="8991022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BAED417D-C16B-6B0C-ECFE-BF6B120352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13543" y="4598610"/>
            <a:ext cx="8747107" cy="3362553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63605F59-6D12-02FF-5C80-B0BC689C33F5}"/>
              </a:ext>
            </a:extLst>
          </p:cNvPr>
          <p:cNvSpPr txBox="1"/>
          <p:nvPr/>
        </p:nvSpPr>
        <p:spPr>
          <a:xfrm>
            <a:off x="10266312" y="2907064"/>
            <a:ext cx="3594872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200" dirty="0">
                <a:latin typeface="Verdana" panose="020B0604030504040204" pitchFamily="34" charset="0"/>
                <a:ea typeface="Verdana" panose="020B0604030504040204" pitchFamily="34" charset="0"/>
              </a:rPr>
              <a:t>Figura 1 - Distâncias no ar que delimitam radialmente as zonas de risco, controlada e livre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A0F6D371-C0E6-BDAE-7CA0-70A5584A3F0E}"/>
              </a:ext>
            </a:extLst>
          </p:cNvPr>
          <p:cNvSpPr txBox="1"/>
          <p:nvPr/>
        </p:nvSpPr>
        <p:spPr>
          <a:xfrm>
            <a:off x="14356524" y="2945280"/>
            <a:ext cx="4390568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Figura 2 - Distâncias no ar que delimitam radialmente as zonas de risco, controlada e livre, com interposição de superfície de separação física adequada.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561B97AD-B375-C6E8-8AFA-7D9B020A81C7}"/>
              </a:ext>
            </a:extLst>
          </p:cNvPr>
          <p:cNvSpPr txBox="1"/>
          <p:nvPr/>
        </p:nvSpPr>
        <p:spPr>
          <a:xfrm>
            <a:off x="10596678" y="8233567"/>
            <a:ext cx="7519692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Legenda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ZL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Zona livre 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ZC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Zona controlada, restrita a trabalhadores autorizados. 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ZR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Zona de risco, restrita a trabalhadores autorizados e com a adoção de técnicas, instrumentos e equipamentos apropriados ao trabalho.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PE 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= Ponto da instalação energizado.</a:t>
            </a:r>
          </a:p>
          <a:p>
            <a:r>
              <a:rPr lang="pt-BR" sz="2000" b="1" dirty="0">
                <a:latin typeface="Verdana" panose="020B0604030504040204" pitchFamily="34" charset="0"/>
                <a:ea typeface="Verdana" panose="020B0604030504040204" pitchFamily="34" charset="0"/>
              </a:rPr>
              <a:t>SI</a:t>
            </a:r>
            <a:r>
              <a:rPr lang="pt-BR" sz="2000" dirty="0">
                <a:latin typeface="Verdana" panose="020B0604030504040204" pitchFamily="34" charset="0"/>
                <a:ea typeface="Verdana" panose="020B0604030504040204" pitchFamily="34" charset="0"/>
              </a:rPr>
              <a:t> = Superfície isolante construída com material resistente e dotada de todos dispositivos de segurança. </a:t>
            </a:r>
          </a:p>
        </p:txBody>
      </p:sp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A84AFC8-AE70-B7C3-2587-38186E15CCE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28ED9B8B-CF06-CADE-56AA-D225067998F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78455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0"/>
            <a:ext cx="12046226" cy="137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43616" y="0"/>
            <a:ext cx="13640274" cy="13716000"/>
          </a:xfrm>
          <a:prstGeom prst="roundRect">
            <a:avLst>
              <a:gd name="adj" fmla="val 18102"/>
            </a:avLst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pt-BR" sz="4000" dirty="0">
              <a:solidFill>
                <a:schemeClr val="bg1"/>
              </a:solidFill>
            </a:endParaRPr>
          </a:p>
          <a:p>
            <a:endParaRPr lang="pt-BR" sz="4000" dirty="0">
              <a:solidFill>
                <a:schemeClr val="bg1"/>
              </a:solidFill>
            </a:endParaRPr>
          </a:p>
          <a:p>
            <a:endParaRPr lang="pt-BR" sz="4000" dirty="0">
              <a:solidFill>
                <a:schemeClr val="bg1"/>
              </a:solidFill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aprovadas pela Portaria n.º 3.214, de 8 de junho de 1978, nas normas técnicas vigentes e, na ausência ou omissão destas, nas normas internacionais aplicáveis.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6 Deve ser realizada nova capacitação, com carga horária e conteúdo programático que atendam às necessidades que a motivou, nas situações previstas abaixo: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troca de função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troca de métodos e organização do trabalho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retorno de afastamento ao trabalho ou inatividade, por período superior a seis mese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modificações significativas nas instalações, operação de máquinas, equipamentos ou processos diferentes dos que o trabalhador está habituado a operar.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7 Programas de capacitação. 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770" y="2668924"/>
            <a:ext cx="2301735" cy="133434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2EF7D29A-AA37-04C6-B830-9F94E5D17B22}"/>
              </a:ext>
            </a:extLst>
          </p:cNvPr>
          <p:cNvSpPr txBox="1"/>
          <p:nvPr/>
        </p:nvSpPr>
        <p:spPr>
          <a:xfrm>
            <a:off x="215009" y="493492"/>
            <a:ext cx="10428607" cy="238783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– 11: TRANSPORTE, MOVIMENTAÇÃO E ARMAZENAMENTO</a:t>
            </a:r>
            <a:r>
              <a:rPr lang="pt-BR" sz="4000" dirty="0">
                <a:latin typeface="Verdana" panose="020B0604030504040204" pitchFamily="34" charset="0"/>
                <a:ea typeface="Verdana" panose="020B0604030504040204" pitchFamily="34" charset="0"/>
                <a:cs typeface="Calibri" panose="020F0502020204030204"/>
              </a:rPr>
              <a:t> </a:t>
            </a:r>
            <a:r>
              <a:rPr lang="en-US" sz="4000" b="1" dirty="0">
                <a:latin typeface="Verdana" panose="020B0604030504040204" pitchFamily="34" charset="0"/>
                <a:ea typeface="Verdana" panose="020B0604030504040204" pitchFamily="34" charset="0"/>
              </a:rPr>
              <a:t>DE MATERIAIS.</a:t>
            </a:r>
            <a:endParaRPr lang="en-US" sz="40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  <a:p>
            <a:pPr>
              <a:lnSpc>
                <a:spcPts val="3499"/>
              </a:lnSpc>
              <a:spcBef>
                <a:spcPct val="0"/>
              </a:spcBef>
            </a:pPr>
            <a:endParaRPr lang="en-US" sz="40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AB605A5-B458-8A80-3A2B-F64FA30E3202}"/>
              </a:ext>
            </a:extLst>
          </p:cNvPr>
          <p:cNvSpPr txBox="1"/>
          <p:nvPr/>
        </p:nvSpPr>
        <p:spPr>
          <a:xfrm>
            <a:off x="406715" y="2802358"/>
            <a:ext cx="9420860" cy="72737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ts val="3499"/>
              </a:lnSpc>
              <a:spcBef>
                <a:spcPct val="0"/>
              </a:spcBef>
            </a:pPr>
            <a:endParaRPr lang="pt-BR" sz="36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ts val="3499"/>
              </a:lnSpc>
              <a:spcBef>
                <a:spcPct val="0"/>
              </a:spcBef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ts val="3499"/>
              </a:lnSpc>
              <a:spcBef>
                <a:spcPct val="0"/>
              </a:spcBef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ste Regulamento Técnico define princípios fundamentais e medidas de proteção para preservar a saúde e a integridade física dos trabalhadores e estabelece requisitos mínimos para a prevenção de acidentes e doenças do trabalho no comércio e na indústria de beneficiamento, transformação, movimentação, manuseio e armazenamento de chapas rochas ornamentais, sem prejuízo da observância do disposto nas  demais Normas Regulamentadoras.</a:t>
            </a:r>
          </a:p>
          <a:p>
            <a:pPr algn="ctr">
              <a:lnSpc>
                <a:spcPts val="3499"/>
              </a:lnSpc>
              <a:spcBef>
                <a:spcPct val="0"/>
              </a:spcBef>
            </a:pPr>
            <a:endParaRPr lang="pt-BR" sz="3600" b="1" dirty="0"/>
          </a:p>
          <a:p>
            <a:pPr algn="ctr">
              <a:lnSpc>
                <a:spcPts val="3499"/>
              </a:lnSpc>
              <a:spcBef>
                <a:spcPct val="0"/>
              </a:spcBef>
            </a:pPr>
            <a:r>
              <a:rPr lang="pt-BR" sz="3600" b="1" dirty="0"/>
              <a:t> </a:t>
            </a:r>
          </a:p>
          <a:p>
            <a:pPr algn="ctr">
              <a:lnSpc>
                <a:spcPts val="3499"/>
              </a:lnSpc>
              <a:spcBef>
                <a:spcPct val="0"/>
              </a:spcBef>
            </a:pPr>
            <a:endParaRPr lang="pt-BR" sz="3600" b="1" dirty="0">
              <a:solidFill>
                <a:srgbClr val="000000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ED3505A7-33A3-354C-D705-E9BD37DA69B2}"/>
              </a:ext>
            </a:extLst>
          </p:cNvPr>
          <p:cNvSpPr txBox="1"/>
          <p:nvPr/>
        </p:nvSpPr>
        <p:spPr>
          <a:xfrm>
            <a:off x="11926998" y="981315"/>
            <a:ext cx="113112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rá ser anexado os certificados de acordo com treinamento / atividade exercida pelo funcionário. 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37D0A902-250A-A123-492B-1C5EF06128A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67956BF6-3126-9935-D1AE-A9FE2850D36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7841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16560" y="0"/>
            <a:ext cx="18714720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563136" y="-21444"/>
            <a:ext cx="13852450" cy="138654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5773" lvl="1" indent="-222886">
              <a:lnSpc>
                <a:spcPts val="2333"/>
              </a:lnSpc>
              <a:buFont typeface="Arial"/>
              <a:buChar char="•"/>
            </a:pPr>
            <a:r>
              <a:rPr lang="pt-BR" sz="2400" dirty="0"/>
              <a:t>1. Conceito de : prevencionista, legal; 2. Tipos de acidente; 3. Comunicação de Acidente de Trabalho – CAT; 4. Causas de acidentes de trabalho: homem, máquina, ambiente etc.; 5. Consequências dos acidentes de trabalho; 6. Acidentes com movimentação, manuseio e armazenagem de chapas de rochas ornamentais: análise de causas e medidas preventivas;</a:t>
            </a:r>
            <a:endParaRPr lang="en-US" sz="2400" spc="-68" dirty="0">
              <a:solidFill>
                <a:srgbClr val="262B2B"/>
              </a:solidFill>
              <a:latin typeface="HK Grotesk Bold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4182" y="2188758"/>
            <a:ext cx="2301735" cy="13343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BC4FA4-DF70-8A39-14DE-7F7844CE5A21}"/>
              </a:ext>
            </a:extLst>
          </p:cNvPr>
          <p:cNvSpPr txBox="1"/>
          <p:nvPr/>
        </p:nvSpPr>
        <p:spPr>
          <a:xfrm>
            <a:off x="460425" y="1228430"/>
            <a:ext cx="9978136" cy="8483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370"/>
              </a:lnSpc>
            </a:pPr>
            <a:r>
              <a:rPr lang="en-US" sz="5400" b="1" spc="708" dirty="0">
                <a:solidFill>
                  <a:srgbClr val="FFFFFF"/>
                </a:solidFill>
                <a:latin typeface="HK Grotesk Bold"/>
              </a:rPr>
              <a:t>NR - 1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A0D99A-BEA3-FCC9-D1A2-89438AE160C7}"/>
              </a:ext>
            </a:extLst>
          </p:cNvPr>
          <p:cNvSpPr txBox="1"/>
          <p:nvPr/>
        </p:nvSpPr>
        <p:spPr>
          <a:xfrm>
            <a:off x="410252" y="2465539"/>
            <a:ext cx="10430356" cy="13832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499"/>
              </a:lnSpc>
            </a:pPr>
            <a:endParaRPr lang="pt-BR" sz="4400" b="1" dirty="0">
              <a:solidFill>
                <a:srgbClr val="FFFFFF"/>
              </a:solidFill>
            </a:endParaRPr>
          </a:p>
          <a:p>
            <a:pPr>
              <a:lnSpc>
                <a:spcPts val="3499"/>
              </a:lnSpc>
            </a:pPr>
            <a:r>
              <a:rPr lang="pt-BR" sz="4400" b="1" dirty="0">
                <a:solidFill>
                  <a:srgbClr val="FFFFFF"/>
                </a:solidFill>
              </a:rPr>
              <a:t>SAÚDE, SEGURANÇA E HIGIENE NO TRABALHO</a:t>
            </a:r>
            <a:endParaRPr lang="en-US" sz="4400" b="1" dirty="0">
              <a:solidFill>
                <a:srgbClr val="FFFFFF"/>
              </a:solidFill>
              <a:latin typeface="HK Grotesk"/>
            </a:endParaRP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96AA9393-536F-C018-A207-92A5FC9544C0}"/>
              </a:ext>
            </a:extLst>
          </p:cNvPr>
          <p:cNvSpPr txBox="1"/>
          <p:nvPr/>
        </p:nvSpPr>
        <p:spPr>
          <a:xfrm>
            <a:off x="11335955" y="2582744"/>
            <a:ext cx="10863292" cy="7566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0"/>
              </a:lnSpc>
            </a:pPr>
            <a:r>
              <a:rPr lang="pt-BR" sz="36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endParaRPr lang="en-US" sz="36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67927AB-FBDC-E56F-FB9E-9137EA3F670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4F2AA7B4-4C7F-428A-31BA-9FF43FD1993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AA54A175-0C6F-C395-1D9B-E4384DD78AC6}"/>
              </a:ext>
            </a:extLst>
          </p:cNvPr>
          <p:cNvSpPr txBox="1"/>
          <p:nvPr/>
        </p:nvSpPr>
        <p:spPr>
          <a:xfrm>
            <a:off x="11058603" y="4492477"/>
            <a:ext cx="11115444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(Certificado):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e CPF/RG do empreg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o equipamento/curso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Instrut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colaborador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eitar prazo de validade informado ou necessidade de reciclagem conforme normas internas/legais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5B4EFA4-C562-40BD-D64D-1DBF471356BC}"/>
              </a:ext>
            </a:extLst>
          </p:cNvPr>
          <p:cNvSpPr txBox="1"/>
          <p:nvPr/>
        </p:nvSpPr>
        <p:spPr>
          <a:xfrm>
            <a:off x="410252" y="4581665"/>
            <a:ext cx="728079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</a:t>
            </a:r>
          </a:p>
          <a:p>
            <a:endParaRPr lang="pt-BR" sz="32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mação/ capacitação inicial: </a:t>
            </a: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 horas</a:t>
            </a:r>
          </a:p>
          <a:p>
            <a:endParaRPr lang="pt-BR" sz="32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ciclagem: </a:t>
            </a:r>
            <a:b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8 horas </a:t>
            </a:r>
          </a:p>
        </p:txBody>
      </p:sp>
    </p:spTree>
    <p:extLst>
      <p:ext uri="{BB962C8B-B14F-4D97-AF65-F5344CB8AC3E}">
        <p14:creationId xmlns:p14="http://schemas.microsoft.com/office/powerpoint/2010/main" val="35657106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16560" y="0"/>
            <a:ext cx="18714720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563136" y="-21444"/>
            <a:ext cx="13852450" cy="138654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5773" lvl="1" indent="-222886">
              <a:lnSpc>
                <a:spcPts val="2333"/>
              </a:lnSpc>
              <a:buFont typeface="Arial"/>
              <a:buChar char="•"/>
            </a:pPr>
            <a:r>
              <a:rPr lang="pt-BR" sz="2400"/>
              <a:t>1. Conceito de : prevencionista, legal; 2. Tipos de acidente; 3. Comunicação de Acidente de Trabalho – CAT; 4. Causas de acidentes de trabalho: homem, máquina, ambiente etc.; 5. Consequências dos acidentes de trabalho; 6. Acidentes com movimentação, manuseio e armazenagem de chapas de rochas ornamentais: análise de causas e medidas preventivas;</a:t>
            </a:r>
            <a:endParaRPr lang="en-US" sz="2400" spc="-68">
              <a:solidFill>
                <a:srgbClr val="262B2B"/>
              </a:solidFill>
              <a:latin typeface="HK Grotesk Bold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4182" y="2188758"/>
            <a:ext cx="2301735" cy="13343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BC4FA4-DF70-8A39-14DE-7F7844CE5A21}"/>
              </a:ext>
            </a:extLst>
          </p:cNvPr>
          <p:cNvSpPr txBox="1"/>
          <p:nvPr/>
        </p:nvSpPr>
        <p:spPr>
          <a:xfrm>
            <a:off x="460425" y="1228430"/>
            <a:ext cx="9978136" cy="8483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370"/>
              </a:lnSpc>
            </a:pPr>
            <a:r>
              <a:rPr lang="en-US" sz="5400" b="1" spc="708" dirty="0">
                <a:solidFill>
                  <a:srgbClr val="FFFFFF"/>
                </a:solidFill>
                <a:latin typeface="HK Grotesk Bold"/>
              </a:rPr>
              <a:t>NR - 1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A0D99A-BEA3-FCC9-D1A2-89438AE160C7}"/>
              </a:ext>
            </a:extLst>
          </p:cNvPr>
          <p:cNvSpPr txBox="1"/>
          <p:nvPr/>
        </p:nvSpPr>
        <p:spPr>
          <a:xfrm>
            <a:off x="410252" y="2465539"/>
            <a:ext cx="10430356" cy="18277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499"/>
              </a:lnSpc>
            </a:pPr>
            <a:r>
              <a:rPr lang="pt-BR" sz="4400" b="1" dirty="0">
                <a:solidFill>
                  <a:srgbClr val="FFFFFF"/>
                </a:solidFill>
              </a:rPr>
              <a:t>Módulo I     </a:t>
            </a:r>
          </a:p>
          <a:p>
            <a:pPr>
              <a:lnSpc>
                <a:spcPts val="3499"/>
              </a:lnSpc>
            </a:pPr>
            <a:endParaRPr lang="pt-BR" sz="4400" b="1" dirty="0">
              <a:solidFill>
                <a:srgbClr val="FFFFFF"/>
              </a:solidFill>
            </a:endParaRPr>
          </a:p>
          <a:p>
            <a:pPr>
              <a:lnSpc>
                <a:spcPts val="3499"/>
              </a:lnSpc>
            </a:pPr>
            <a:r>
              <a:rPr lang="pt-BR" sz="4400" b="1" dirty="0">
                <a:solidFill>
                  <a:srgbClr val="FFFFFF"/>
                </a:solidFill>
              </a:rPr>
              <a:t>SAÚDE, SEGURANÇA E HIGIENE NO TRABALHO</a:t>
            </a:r>
            <a:endParaRPr lang="en-US" sz="4400" b="1" dirty="0">
              <a:solidFill>
                <a:srgbClr val="FFFFFF"/>
              </a:solidFill>
              <a:latin typeface="HK Grotesk"/>
            </a:endParaRP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96AA9393-536F-C018-A207-92A5FC9544C0}"/>
              </a:ext>
            </a:extLst>
          </p:cNvPr>
          <p:cNvSpPr txBox="1"/>
          <p:nvPr/>
        </p:nvSpPr>
        <p:spPr>
          <a:xfrm>
            <a:off x="11335955" y="2582744"/>
            <a:ext cx="10863292" cy="7566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0"/>
              </a:lnSpc>
            </a:pPr>
            <a:r>
              <a:rPr lang="pt-BR" sz="36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endParaRPr lang="en-US" sz="36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2" name="Group 22">
            <a:extLst>
              <a:ext uri="{FF2B5EF4-FFF2-40B4-BE49-F238E27FC236}">
                <a16:creationId xmlns:a16="http://schemas.microsoft.com/office/drawing/2014/main" id="{4219968A-072C-62F3-F31F-642CE2226369}"/>
              </a:ext>
            </a:extLst>
          </p:cNvPr>
          <p:cNvGrpSpPr/>
          <p:nvPr/>
        </p:nvGrpSpPr>
        <p:grpSpPr>
          <a:xfrm rot="5400000">
            <a:off x="2541567" y="2789730"/>
            <a:ext cx="915303" cy="5017165"/>
            <a:chOff x="97478" y="-701271"/>
            <a:chExt cx="2692515" cy="7132691"/>
          </a:xfrm>
        </p:grpSpPr>
        <p:sp>
          <p:nvSpPr>
            <p:cNvPr id="23" name="Freeform 23">
              <a:extLst>
                <a:ext uri="{FF2B5EF4-FFF2-40B4-BE49-F238E27FC236}">
                  <a16:creationId xmlns:a16="http://schemas.microsoft.com/office/drawing/2014/main" id="{F2B05079-BF8F-858E-CBB8-8CA8BA1885F7}"/>
                </a:ext>
              </a:extLst>
            </p:cNvPr>
            <p:cNvSpPr/>
            <p:nvPr/>
          </p:nvSpPr>
          <p:spPr>
            <a:xfrm>
              <a:off x="97478" y="-701271"/>
              <a:ext cx="2692515" cy="7132691"/>
            </a:xfrm>
            <a:custGeom>
              <a:avLst/>
              <a:gdLst/>
              <a:ahLst/>
              <a:cxnLst/>
              <a:rect l="l" t="t" r="r" b="b"/>
              <a:pathLst>
                <a:path w="2692515" h="7132691">
                  <a:moveTo>
                    <a:pt x="1324610" y="0"/>
                  </a:moveTo>
                  <a:lnTo>
                    <a:pt x="0" y="0"/>
                  </a:lnTo>
                  <a:lnTo>
                    <a:pt x="0" y="5808081"/>
                  </a:lnTo>
                  <a:lnTo>
                    <a:pt x="1324610" y="7132691"/>
                  </a:lnTo>
                  <a:lnTo>
                    <a:pt x="2692515" y="7132691"/>
                  </a:lnTo>
                  <a:lnTo>
                    <a:pt x="2692515" y="0"/>
                  </a:lnTo>
                  <a:lnTo>
                    <a:pt x="1324610" y="0"/>
                  </a:lnTo>
                  <a:close/>
                </a:path>
              </a:pathLst>
            </a:custGeom>
            <a:solidFill>
              <a:srgbClr val="4877CA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4" name="TextBox 30">
            <a:extLst>
              <a:ext uri="{FF2B5EF4-FFF2-40B4-BE49-F238E27FC236}">
                <a16:creationId xmlns:a16="http://schemas.microsoft.com/office/drawing/2014/main" id="{8DB920F4-DE0F-B8BB-B4B0-2108CD158056}"/>
              </a:ext>
            </a:extLst>
          </p:cNvPr>
          <p:cNvSpPr txBox="1"/>
          <p:nvPr/>
        </p:nvSpPr>
        <p:spPr>
          <a:xfrm>
            <a:off x="873572" y="5292350"/>
            <a:ext cx="4159619" cy="2283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60"/>
              </a:lnSpc>
              <a:spcBef>
                <a:spcPct val="0"/>
              </a:spcBef>
            </a:pPr>
            <a:r>
              <a:rPr lang="en-US" sz="28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</a:t>
            </a:r>
          </a:p>
        </p:txBody>
      </p:sp>
      <p:grpSp>
        <p:nvGrpSpPr>
          <p:cNvPr id="25" name="Group 16">
            <a:extLst>
              <a:ext uri="{FF2B5EF4-FFF2-40B4-BE49-F238E27FC236}">
                <a16:creationId xmlns:a16="http://schemas.microsoft.com/office/drawing/2014/main" id="{618DBA05-0684-F4D4-D998-B03BDA0737AE}"/>
              </a:ext>
            </a:extLst>
          </p:cNvPr>
          <p:cNvGrpSpPr/>
          <p:nvPr/>
        </p:nvGrpSpPr>
        <p:grpSpPr>
          <a:xfrm>
            <a:off x="2953382" y="6043868"/>
            <a:ext cx="4697914" cy="915305"/>
            <a:chOff x="101427" y="166441"/>
            <a:chExt cx="2281804" cy="556930"/>
          </a:xfrm>
        </p:grpSpPr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B6192253-05A1-6B37-E633-35E0CB1A07FD}"/>
                </a:ext>
              </a:extLst>
            </p:cNvPr>
            <p:cNvSpPr/>
            <p:nvPr/>
          </p:nvSpPr>
          <p:spPr>
            <a:xfrm>
              <a:off x="101427" y="166441"/>
              <a:ext cx="2281804" cy="556930"/>
            </a:xfrm>
            <a:custGeom>
              <a:avLst/>
              <a:gdLst/>
              <a:ahLst/>
              <a:cxnLst/>
              <a:rect l="l" t="t" r="r" b="b"/>
              <a:pathLst>
                <a:path w="2281804" h="556930">
                  <a:moveTo>
                    <a:pt x="0" y="0"/>
                  </a:moveTo>
                  <a:lnTo>
                    <a:pt x="2281804" y="0"/>
                  </a:lnTo>
                  <a:lnTo>
                    <a:pt x="2281804" y="556930"/>
                  </a:lnTo>
                  <a:lnTo>
                    <a:pt x="0" y="556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pPr algn="ctr"/>
              <a:r>
                <a:rPr lang="pt-BR" sz="4000" b="1" dirty="0">
                  <a:latin typeface="Verdana" panose="020B0604030504040204" pitchFamily="34" charset="0"/>
                  <a:ea typeface="Verdana" panose="020B0604030504040204" pitchFamily="34" charset="0"/>
                </a:rPr>
                <a:t>16 HORAS</a:t>
              </a:r>
              <a:endParaRPr lang="pt-BR" sz="2800" b="1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7" name="Group 31">
            <a:extLst>
              <a:ext uri="{FF2B5EF4-FFF2-40B4-BE49-F238E27FC236}">
                <a16:creationId xmlns:a16="http://schemas.microsoft.com/office/drawing/2014/main" id="{6FD691AE-2462-4FAB-2E6F-6C686D7AB1AE}"/>
              </a:ext>
            </a:extLst>
          </p:cNvPr>
          <p:cNvGrpSpPr/>
          <p:nvPr/>
        </p:nvGrpSpPr>
        <p:grpSpPr>
          <a:xfrm rot="5400000">
            <a:off x="2334301" y="5259361"/>
            <a:ext cx="952938" cy="4928370"/>
            <a:chOff x="0" y="0"/>
            <a:chExt cx="2692515" cy="7132691"/>
          </a:xfrm>
        </p:grpSpPr>
        <p:sp>
          <p:nvSpPr>
            <p:cNvPr id="28" name="Freeform 32">
              <a:extLst>
                <a:ext uri="{FF2B5EF4-FFF2-40B4-BE49-F238E27FC236}">
                  <a16:creationId xmlns:a16="http://schemas.microsoft.com/office/drawing/2014/main" id="{A13E033F-9E88-C172-CF48-F25F177A5A7D}"/>
                </a:ext>
              </a:extLst>
            </p:cNvPr>
            <p:cNvSpPr/>
            <p:nvPr/>
          </p:nvSpPr>
          <p:spPr>
            <a:xfrm>
              <a:off x="0" y="0"/>
              <a:ext cx="2692515" cy="7132691"/>
            </a:xfrm>
            <a:custGeom>
              <a:avLst/>
              <a:gdLst/>
              <a:ahLst/>
              <a:cxnLst/>
              <a:rect l="l" t="t" r="r" b="b"/>
              <a:pathLst>
                <a:path w="2692515" h="7132691">
                  <a:moveTo>
                    <a:pt x="1324610" y="0"/>
                  </a:moveTo>
                  <a:lnTo>
                    <a:pt x="0" y="0"/>
                  </a:lnTo>
                  <a:lnTo>
                    <a:pt x="0" y="5808081"/>
                  </a:lnTo>
                  <a:lnTo>
                    <a:pt x="1324610" y="7132691"/>
                  </a:lnTo>
                  <a:lnTo>
                    <a:pt x="2692515" y="7132691"/>
                  </a:lnTo>
                  <a:lnTo>
                    <a:pt x="2692515" y="0"/>
                  </a:lnTo>
                  <a:lnTo>
                    <a:pt x="1324610" y="0"/>
                  </a:lnTo>
                  <a:close/>
                </a:path>
              </a:pathLst>
            </a:custGeom>
            <a:solidFill>
              <a:srgbClr val="4877CA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9" name="TextBox 33">
            <a:extLst>
              <a:ext uri="{FF2B5EF4-FFF2-40B4-BE49-F238E27FC236}">
                <a16:creationId xmlns:a16="http://schemas.microsoft.com/office/drawing/2014/main" id="{789AC91E-E1C3-9063-B7C6-8F0C5FA3205C}"/>
              </a:ext>
            </a:extLst>
          </p:cNvPr>
          <p:cNvSpPr txBox="1"/>
          <p:nvPr/>
        </p:nvSpPr>
        <p:spPr>
          <a:xfrm>
            <a:off x="1032718" y="7822885"/>
            <a:ext cx="4008667" cy="23897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60"/>
              </a:lnSpc>
              <a:spcBef>
                <a:spcPct val="0"/>
              </a:spcBef>
            </a:pPr>
            <a:r>
              <a:rPr lang="en-US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ONSÁVEL</a:t>
            </a:r>
          </a:p>
        </p:txBody>
      </p:sp>
      <p:grpSp>
        <p:nvGrpSpPr>
          <p:cNvPr id="30" name="Group 18">
            <a:extLst>
              <a:ext uri="{FF2B5EF4-FFF2-40B4-BE49-F238E27FC236}">
                <a16:creationId xmlns:a16="http://schemas.microsoft.com/office/drawing/2014/main" id="{2D99501F-28B2-EF59-55BE-4E12D77215F6}"/>
              </a:ext>
            </a:extLst>
          </p:cNvPr>
          <p:cNvGrpSpPr/>
          <p:nvPr/>
        </p:nvGrpSpPr>
        <p:grpSpPr>
          <a:xfrm>
            <a:off x="1720939" y="8720422"/>
            <a:ext cx="7162800" cy="1351928"/>
            <a:chOff x="-864349" y="67453"/>
            <a:chExt cx="2659490" cy="620333"/>
          </a:xfrm>
        </p:grpSpPr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41A5981E-FB7E-66FE-7ECA-8C02E5E0C0FE}"/>
                </a:ext>
              </a:extLst>
            </p:cNvPr>
            <p:cNvSpPr/>
            <p:nvPr/>
          </p:nvSpPr>
          <p:spPr>
            <a:xfrm>
              <a:off x="-864349" y="67453"/>
              <a:ext cx="2659490" cy="620333"/>
            </a:xfrm>
            <a:custGeom>
              <a:avLst/>
              <a:gdLst/>
              <a:ahLst/>
              <a:cxnLst/>
              <a:rect l="l" t="t" r="r" b="b"/>
              <a:pathLst>
                <a:path w="2281804" h="556930">
                  <a:moveTo>
                    <a:pt x="0" y="0"/>
                  </a:moveTo>
                  <a:lnTo>
                    <a:pt x="2281804" y="0"/>
                  </a:lnTo>
                  <a:lnTo>
                    <a:pt x="2281804" y="556930"/>
                  </a:lnTo>
                  <a:lnTo>
                    <a:pt x="0" y="556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r>
                <a:rPr lang="en-US" sz="2800" b="1" spc="-72" dirty="0">
                  <a:solidFill>
                    <a:srgbClr val="262B2B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DENTIFICAÇÃO DO INSTRUTOR (A) DO TREINAMENTO E DO RESPONSÁVEL TÉCNICO DO MESMO</a:t>
              </a:r>
            </a:p>
            <a:p>
              <a:endParaRPr lang="pt-BR" dirty="0"/>
            </a:p>
          </p:txBody>
        </p:sp>
      </p:grpSp>
      <p:grpSp>
        <p:nvGrpSpPr>
          <p:cNvPr id="32" name="Group 37">
            <a:extLst>
              <a:ext uri="{FF2B5EF4-FFF2-40B4-BE49-F238E27FC236}">
                <a16:creationId xmlns:a16="http://schemas.microsoft.com/office/drawing/2014/main" id="{A6CC7D74-D22E-E82C-FD42-5573D4B20392}"/>
              </a:ext>
            </a:extLst>
          </p:cNvPr>
          <p:cNvGrpSpPr/>
          <p:nvPr/>
        </p:nvGrpSpPr>
        <p:grpSpPr>
          <a:xfrm rot="5400000">
            <a:off x="4685659" y="8556957"/>
            <a:ext cx="952940" cy="4928369"/>
            <a:chOff x="-361266" y="63100"/>
            <a:chExt cx="2692515" cy="7132691"/>
          </a:xfrm>
        </p:grpSpPr>
        <p:sp>
          <p:nvSpPr>
            <p:cNvPr id="33" name="Freeform 38">
              <a:extLst>
                <a:ext uri="{FF2B5EF4-FFF2-40B4-BE49-F238E27FC236}">
                  <a16:creationId xmlns:a16="http://schemas.microsoft.com/office/drawing/2014/main" id="{CF323EF8-28CB-344B-5289-4052879DCC9F}"/>
                </a:ext>
              </a:extLst>
            </p:cNvPr>
            <p:cNvSpPr/>
            <p:nvPr/>
          </p:nvSpPr>
          <p:spPr>
            <a:xfrm>
              <a:off x="-361266" y="63100"/>
              <a:ext cx="2692515" cy="7132691"/>
            </a:xfrm>
            <a:custGeom>
              <a:avLst/>
              <a:gdLst/>
              <a:ahLst/>
              <a:cxnLst/>
              <a:rect l="l" t="t" r="r" b="b"/>
              <a:pathLst>
                <a:path w="2692515" h="7132691">
                  <a:moveTo>
                    <a:pt x="1324610" y="0"/>
                  </a:moveTo>
                  <a:lnTo>
                    <a:pt x="0" y="0"/>
                  </a:lnTo>
                  <a:lnTo>
                    <a:pt x="0" y="5808081"/>
                  </a:lnTo>
                  <a:lnTo>
                    <a:pt x="1324610" y="7132691"/>
                  </a:lnTo>
                  <a:lnTo>
                    <a:pt x="2692515" y="7132691"/>
                  </a:lnTo>
                  <a:lnTo>
                    <a:pt x="2692515" y="0"/>
                  </a:lnTo>
                  <a:lnTo>
                    <a:pt x="1324610" y="0"/>
                  </a:lnTo>
                  <a:close/>
                </a:path>
              </a:pathLst>
            </a:custGeom>
            <a:solidFill>
              <a:srgbClr val="4877CA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7BA5827F-DAFD-49E5-99AD-151D3F6E9EE3}"/>
              </a:ext>
            </a:extLst>
          </p:cNvPr>
          <p:cNvSpPr txBox="1"/>
          <p:nvPr/>
        </p:nvSpPr>
        <p:spPr>
          <a:xfrm>
            <a:off x="-861327" y="10805223"/>
            <a:ext cx="12435840" cy="297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560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ÇÕES GERAIS</a:t>
            </a:r>
          </a:p>
        </p:txBody>
      </p:sp>
      <p:grpSp>
        <p:nvGrpSpPr>
          <p:cNvPr id="36" name="Group 20">
            <a:extLst>
              <a:ext uri="{FF2B5EF4-FFF2-40B4-BE49-F238E27FC236}">
                <a16:creationId xmlns:a16="http://schemas.microsoft.com/office/drawing/2014/main" id="{C4384629-675E-DF94-5691-130595A1CAED}"/>
              </a:ext>
            </a:extLst>
          </p:cNvPr>
          <p:cNvGrpSpPr/>
          <p:nvPr/>
        </p:nvGrpSpPr>
        <p:grpSpPr>
          <a:xfrm>
            <a:off x="3718581" y="11774699"/>
            <a:ext cx="6057460" cy="1351929"/>
            <a:chOff x="-36313" y="-6368"/>
            <a:chExt cx="2281804" cy="556930"/>
          </a:xfrm>
        </p:grpSpPr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24B0022C-84A8-76F4-BC70-0571E9D6201A}"/>
                </a:ext>
              </a:extLst>
            </p:cNvPr>
            <p:cNvSpPr/>
            <p:nvPr/>
          </p:nvSpPr>
          <p:spPr>
            <a:xfrm>
              <a:off x="-36313" y="-6368"/>
              <a:ext cx="2281804" cy="556930"/>
            </a:xfrm>
            <a:custGeom>
              <a:avLst/>
              <a:gdLst/>
              <a:ahLst/>
              <a:cxnLst/>
              <a:rect l="l" t="t" r="r" b="b"/>
              <a:pathLst>
                <a:path w="2281804" h="556930">
                  <a:moveTo>
                    <a:pt x="0" y="0"/>
                  </a:moveTo>
                  <a:lnTo>
                    <a:pt x="2281804" y="0"/>
                  </a:lnTo>
                  <a:lnTo>
                    <a:pt x="2281804" y="556930"/>
                  </a:lnTo>
                  <a:lnTo>
                    <a:pt x="0" y="556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B200C677-7A8E-36A5-CDA6-F71528FF9A87}"/>
              </a:ext>
            </a:extLst>
          </p:cNvPr>
          <p:cNvSpPr txBox="1"/>
          <p:nvPr/>
        </p:nvSpPr>
        <p:spPr>
          <a:xfrm>
            <a:off x="3795436" y="12139183"/>
            <a:ext cx="6792272" cy="7335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>
              <a:lnSpc>
                <a:spcPts val="2485"/>
              </a:lnSpc>
            </a:pPr>
            <a:r>
              <a:rPr lang="en-US" sz="2400" b="1" spc="-72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ECE552FB-537C-38E3-F7A7-A5745598A2F3}"/>
              </a:ext>
            </a:extLst>
          </p:cNvPr>
          <p:cNvSpPr txBox="1"/>
          <p:nvPr/>
        </p:nvSpPr>
        <p:spPr>
          <a:xfrm>
            <a:off x="11090977" y="3922550"/>
            <a:ext cx="13531644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ceito de acidentes de trabalho: </a:t>
            </a: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prevencionista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, legal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Tipos de acidente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municação de Acidente de Trabalho – CAT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ausas de acidentes de trabalho: homem, máquina, ambiente etc.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Consequências dos acidentes de trabalh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Acidentes com movimentação, manuseio e armazenagem de chapas de rochas ornamentais: análise de causas e medidas preventivas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Riscos ambientais: físicos, químicos, biológicos e ergonômico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Riscos de acidente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todologias de Análise de Riscos: conceitos e exercícios prático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Equipamentos de proteção coletiva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Medidas técnicas e administrativa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Equipamentos de Proteção Individual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nspeção de Seguranç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67927AB-FBDC-E56F-FB9E-9137EA3F670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4F2AA7B4-4C7F-428A-31BA-9FF43FD1993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267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F5E19106-4B77-9E54-FE98-2594B1ADD4AD}"/>
              </a:ext>
            </a:extLst>
          </p:cNvPr>
          <p:cNvSpPr/>
          <p:nvPr/>
        </p:nvSpPr>
        <p:spPr>
          <a:xfrm>
            <a:off x="12285896" y="0"/>
            <a:ext cx="12686374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: Cantos Arredondados 9">
            <a:extLst>
              <a:ext uri="{FF2B5EF4-FFF2-40B4-BE49-F238E27FC236}">
                <a16:creationId xmlns:a16="http://schemas.microsoft.com/office/drawing/2014/main" id="{7E3D15C4-AA8D-372C-F036-ACF87A05F851}"/>
              </a:ext>
            </a:extLst>
          </p:cNvPr>
          <p:cNvSpPr/>
          <p:nvPr/>
        </p:nvSpPr>
        <p:spPr>
          <a:xfrm>
            <a:off x="9240253" y="0"/>
            <a:ext cx="452387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68F9365E-6424-65A8-25FD-08A7F1397AE0}"/>
              </a:ext>
            </a:extLst>
          </p:cNvPr>
          <p:cNvSpPr txBox="1"/>
          <p:nvPr/>
        </p:nvSpPr>
        <p:spPr>
          <a:xfrm>
            <a:off x="1525800" y="2437826"/>
            <a:ext cx="92640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111111"/>
                </a:solidFill>
                <a:latin typeface="Montserrat" pitchFamily="2" charset="0"/>
              </a:rPr>
              <a:t>PGR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98D50D6-CB70-0B7F-9693-AC124ACD3FB4}"/>
              </a:ext>
            </a:extLst>
          </p:cNvPr>
          <p:cNvSpPr txBox="1"/>
          <p:nvPr/>
        </p:nvSpPr>
        <p:spPr>
          <a:xfrm>
            <a:off x="363031" y="4205378"/>
            <a:ext cx="856740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solidFill>
                <a:srgbClr val="11111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GR (Programa De Gerenciamento De Risco), é um documento que define as diretrizes e requisitos gerais com objetivo de promover ações de prevenção e gerenciamento de riscos ocupacionais no ambiente do trabalho da empresa.​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90835669-5053-46CE-6F8E-FBB136126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106" y="3321501"/>
            <a:ext cx="1683929" cy="9761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5B021AFB-B2E4-358E-CFC8-E7452AD3CFF8}"/>
              </a:ext>
            </a:extLst>
          </p:cNvPr>
          <p:cNvSpPr txBox="1"/>
          <p:nvPr/>
        </p:nvSpPr>
        <p:spPr>
          <a:xfrm>
            <a:off x="10084651" y="919746"/>
            <a:ext cx="13133158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Introduçã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Definições e Critérios de Riscos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Caracterização dos Ambientes/Unidades de Trabalh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 Caracterização das Atividades/Processos de Trabalh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Cargos e Inventário de Riscos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 Descrição das atividades por função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 Cronograma e Plano de Ação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. Prazo de validade de 2 anos ​</a:t>
            </a:r>
          </a:p>
        </p:txBody>
      </p:sp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1D43CE1-5E5B-0FE4-B184-067B2039FA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B23B60F-BCD6-B4B8-8E12-1E1736C234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111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212909" y="0"/>
            <a:ext cx="1386689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00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107" y="2484687"/>
            <a:ext cx="2301735" cy="133434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2EF7D29A-AA37-04C6-B830-9F94E5D17B22}"/>
              </a:ext>
            </a:extLst>
          </p:cNvPr>
          <p:cNvSpPr txBox="1"/>
          <p:nvPr/>
        </p:nvSpPr>
        <p:spPr>
          <a:xfrm>
            <a:off x="631648" y="3171523"/>
            <a:ext cx="9283413" cy="5582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99"/>
              </a:lnSpc>
              <a:spcBef>
                <a:spcPct val="0"/>
              </a:spcBef>
            </a:pPr>
            <a:r>
              <a:rPr lang="en-US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– 11</a:t>
            </a:r>
            <a:endParaRPr lang="en-US" sz="6600" b="1" dirty="0">
              <a:solidFill>
                <a:srgbClr val="000000"/>
              </a:solidFill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F8024F9-057A-8AEC-CA89-5F68D6911ECE}"/>
              </a:ext>
            </a:extLst>
          </p:cNvPr>
          <p:cNvSpPr txBox="1"/>
          <p:nvPr/>
        </p:nvSpPr>
        <p:spPr>
          <a:xfrm>
            <a:off x="631648" y="3969125"/>
            <a:ext cx="888609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Módulo II - ESTUDO DO CONTEÚDO  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ANEXO I DA NR-11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arga horária: 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4 horas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bjetivo: 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Fornecer conhecimentos básicos ao participante para assimilar o conteúdo da legislação de segurança do setor de rochas ornamentais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E317B294-66AC-0E07-5350-09F99F93BAF5}"/>
              </a:ext>
            </a:extLst>
          </p:cNvPr>
          <p:cNvSpPr txBox="1"/>
          <p:nvPr/>
        </p:nvSpPr>
        <p:spPr>
          <a:xfrm>
            <a:off x="11074301" y="2618121"/>
            <a:ext cx="6072054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mínimo: </a:t>
            </a:r>
          </a:p>
          <a:p>
            <a:pPr marL="514350" indent="-514350">
              <a:buAutoNum type="arabicPeriod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ro Porta-Blocos; </a:t>
            </a:r>
          </a:p>
          <a:p>
            <a:pPr marL="514350" indent="-514350">
              <a:buAutoNum type="arabicPeriod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eiros ou “L”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Carro Transportador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 Cavalete Triangular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 Cavalete Vertical ou Palito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 Ventosa: operação e procedimentos de segurança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 Cinta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. Viga de suspensão;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8EFBD1E-D24C-1B8B-28E8-BB00E12B446A}"/>
              </a:ext>
            </a:extLst>
          </p:cNvPr>
          <p:cNvSpPr txBox="1"/>
          <p:nvPr/>
        </p:nvSpPr>
        <p:spPr>
          <a:xfrm>
            <a:off x="18159731" y="2585946"/>
            <a:ext cx="5425440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. Garra (Pinça)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. Cabo de aço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1. Correntes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. </a:t>
            </a:r>
            <a:r>
              <a:rPr lang="pt-BR" sz="32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ador</a:t>
            </a:r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ontêiner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. Equipamento de movimentação de chapas fracionadas; 14. Inspeção nos equipamentos e acessórios; </a:t>
            </a:r>
          </a:p>
          <a:p>
            <a:r>
              <a:rPr lang="pt-BR" sz="3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. Registros de inspeção de segurança nos equipamentos e acessórios.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5D5625D7-DD74-F443-15F8-B946CF848BE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5418D391-261E-E07C-B9B8-9D34CCD429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5" name="TextBox 11">
            <a:extLst>
              <a:ext uri="{FF2B5EF4-FFF2-40B4-BE49-F238E27FC236}">
                <a16:creationId xmlns:a16="http://schemas.microsoft.com/office/drawing/2014/main" id="{96AA9393-536F-C018-A207-92A5FC9544C0}"/>
              </a:ext>
            </a:extLst>
          </p:cNvPr>
          <p:cNvSpPr txBox="1"/>
          <p:nvPr/>
        </p:nvSpPr>
        <p:spPr>
          <a:xfrm>
            <a:off x="12498985" y="1062484"/>
            <a:ext cx="10863292" cy="6631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0"/>
              </a:lnSpc>
            </a:pPr>
            <a:r>
              <a:rPr lang="pt-B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endParaRPr lang="en-US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2383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084037" y="0"/>
            <a:ext cx="13866893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00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7E8ADFE-C2B6-DD8D-8E30-00FB3D29BF16}"/>
              </a:ext>
            </a:extLst>
          </p:cNvPr>
          <p:cNvSpPr txBox="1"/>
          <p:nvPr/>
        </p:nvSpPr>
        <p:spPr>
          <a:xfrm>
            <a:off x="524817" y="3669833"/>
            <a:ext cx="9302826" cy="55092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ódulo III - SEGURANÇA NA OPERAÇÃO DE PONTE ROLANTE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: 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 horas 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tivo: 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as aulas teóricas e práticas, os participantes devem adquirir conhecimentos e desenvolver competências no controle da movimentação de carga de chapas de rochas ornamentais, objetivando que tal atividade se desenvolva com segurança. </a:t>
            </a: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2C40D9F-202F-DEC0-3D30-EB01AEB6D7CD}"/>
              </a:ext>
            </a:extLst>
          </p:cNvPr>
          <p:cNvSpPr txBox="1"/>
          <p:nvPr/>
        </p:nvSpPr>
        <p:spPr>
          <a:xfrm>
            <a:off x="11183400" y="493492"/>
            <a:ext cx="12767530" cy="72943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600" b="1" u="sng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las teóricas: 8 horas Conteúdo Programático mínimo: </a:t>
            </a:r>
          </a:p>
          <a:p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ípios de segurança na utilização dos equipamentos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Descrição dos riscos relacionados aos equipamento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Centro de gravidade de carga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marração de carga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scolha dos tipos de cabos de aço (estropos)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pacidade de carga dos cabos de aço, cintas e correntes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ritérios de descarte para cabos de aço, cintas e correntes;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cessórios para garantir boa amarração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Uso de quebra-canto; 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nilhas, cintas, peras, ganchos - bitolas e capacidades;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speção nos equipamentos, acessórios e registros de inspeção e segurança;</a:t>
            </a:r>
          </a:p>
          <a:p>
            <a:pPr marL="457200" indent="-45720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nalização para içamento e movimentação</a:t>
            </a:r>
          </a:p>
          <a:p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. </a:t>
            </a:r>
            <a:r>
              <a:rPr lang="pt-BR" sz="26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ador</a:t>
            </a: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ontêiner; 14. Equipamento de movimentação de chapas fracionadas; 15. Dispositivos de segurança de acordo com a NR-12 e normas técnicas aplicáveis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6E70A56-2699-1D63-8640-F2B4DE77BED2}"/>
              </a:ext>
            </a:extLst>
          </p:cNvPr>
          <p:cNvSpPr txBox="1"/>
          <p:nvPr/>
        </p:nvSpPr>
        <p:spPr>
          <a:xfrm>
            <a:off x="11096207" y="7928751"/>
            <a:ext cx="12941916" cy="52937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600" b="1" u="sng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las práticas: 8 horas </a:t>
            </a:r>
          </a:p>
          <a:p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e descarga de chapas e blocos em veículos;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rga e descarga do carro porta-bloco;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rro transportador; 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ntosa; 5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ga de suspensão; 6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arra (Pinça); 7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locação e retirada de chapa em bancada; 8.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Movimentação de bloco de rocha ornamental com uso de pórtico rolante.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ador</a:t>
            </a: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ontêiner; 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  <a:p>
            <a:pPr marL="742950" indent="-742950">
              <a:buAutoNum type="arabicPeriod"/>
            </a:pPr>
            <a:r>
              <a:rPr lang="pt-BR" sz="2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quipamento de movimentação de chapas fracionadas.</a:t>
            </a:r>
            <a:endParaRPr lang="pt-BR" sz="2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A1930AB-BB61-AD70-DD74-3B30479A6C7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F96B7C23-0D1D-029A-8BD1-AC002B302B2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2EF7D29A-AA37-04C6-B830-9F94E5D17B22}"/>
              </a:ext>
            </a:extLst>
          </p:cNvPr>
          <p:cNvSpPr txBox="1"/>
          <p:nvPr/>
        </p:nvSpPr>
        <p:spPr>
          <a:xfrm>
            <a:off x="524817" y="3017494"/>
            <a:ext cx="9283413" cy="5582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99"/>
              </a:lnSpc>
              <a:spcBef>
                <a:spcPct val="0"/>
              </a:spcBef>
            </a:pPr>
            <a:r>
              <a:rPr lang="en-US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– 11</a:t>
            </a:r>
            <a:endParaRPr lang="en-US" sz="6600" b="1" dirty="0">
              <a:solidFill>
                <a:srgbClr val="000000"/>
              </a:solidFill>
            </a:endParaRP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107" y="2484687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03601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82764" y="865313"/>
            <a:ext cx="910720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2 OPERAÇÃO, MANUTENÇÃO, INSPEÇÃO E DEMAIS INTERVENÇÕES EM MÁQUINAS E EQUIPAMENTO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70425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048953" y="4122079"/>
            <a:ext cx="9041019" cy="85869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operação, manutenção, inspeção e demais intervenções em máquinas e equipamentos devem ser realizadas por trabalhadores habilitados ou qualificados ou capacitados, e autorizados para este fim. Os trabalhadores envolvidos na operação, manutenção, inspeção e demais intervenções em máquinas e equipamentos devem receber capacitação providenciada pelo empregador e compatível com suas funções, que aborde os riscos a que estão expostos e as medidas de proteção existentes e necessárias, nos termos desta NR, para a prevenção de acidentes e doenças.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349201" y="1153524"/>
            <a:ext cx="12564347" cy="116647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​</a:t>
            </a:r>
          </a:p>
          <a:p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capacitação para operação segura de máquinas deve abranger as etapas teórica e prática, a fim de proporcionar a competência adequada do operador para trabalho seguro.</a:t>
            </a:r>
            <a:b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r no mínimo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descrição e identificação dos riscos associados com cada máquina e equipamento e as proteções específicas contra cada um del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funcionamento das proteções; como e por que devem ser usada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como e em que circunstâncias uma proteção pode ser removida, e por quem, sendo na maioria dos casos, somente o pessoal de inspeção ou manutenç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) o que fazer, por exemplo, contatar o supervisor, se uma proteção foi danificada ou se perdeu sua função, deixando de garantir uma segurança adequada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) os princípios de segurança na utilização da máquina ou equipamento; 43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) segurança para riscos mecânicos, elétricos e outros relevant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) método de trabalho segur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) permissão de trabalh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 ) sistema de bloqueio de funcionamento da máquina e equipamento durante operações de inspeção, limpeza, lubrificação e manutenção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, manutenção, inspeção e demais intervenções em máquinas e equipamentos. 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, local de realização do treinamento e carga horária.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 , a qualificação do(s) instrutor(es) e assinatura.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nome completo e assinatura do funcionário. 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2D503AC-E615-F58E-2A0A-9A2C29C3B3A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C247A796-7436-6739-E593-15A057C4A92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646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D3E25-5EC6-788D-8313-5CF2E9AAEA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8D6A1C67-41C3-E3A4-14AA-5B44E46E71DE}"/>
              </a:ext>
            </a:extLst>
          </p:cNvPr>
          <p:cNvSpPr/>
          <p:nvPr/>
        </p:nvSpPr>
        <p:spPr>
          <a:xfrm>
            <a:off x="13052865" y="-13261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2241ED4F-3564-2D20-B6E7-D278075AA08D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A2D1796-4FA2-0966-4648-BFE49C2ABFAF}"/>
              </a:ext>
            </a:extLst>
          </p:cNvPr>
          <p:cNvSpPr txBox="1"/>
          <p:nvPr/>
        </p:nvSpPr>
        <p:spPr>
          <a:xfrm>
            <a:off x="982764" y="865313"/>
            <a:ext cx="8419770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3 – CALDEIRAS, VASOS DE PRESSÃO, TUBULAÇÕES E TANQUES METÁLICOS DE ARMAZENAMENTO 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4FAC6E6-1576-B5C9-ECD3-A74CDFEB1F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70425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6DD13F2-4D9F-8A8F-823F-2FD73BF66BD8}"/>
              </a:ext>
            </a:extLst>
          </p:cNvPr>
          <p:cNvSpPr txBox="1"/>
          <p:nvPr/>
        </p:nvSpPr>
        <p:spPr>
          <a:xfrm>
            <a:off x="1048953" y="4122079"/>
            <a:ext cx="9041019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referente a CALDEIRAS conforme item 1 do Anexo I da NR13</a:t>
            </a:r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52B9A1A-C210-368E-DA23-4AC6C65DAF6C}"/>
              </a:ext>
            </a:extLst>
          </p:cNvPr>
          <p:cNvSpPr txBox="1"/>
          <p:nvPr/>
        </p:nvSpPr>
        <p:spPr>
          <a:xfrm>
            <a:off x="11324786" y="1253438"/>
            <a:ext cx="12564347" cy="112338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</a:t>
            </a:r>
          </a:p>
          <a:p>
            <a:endParaRPr lang="pt-BR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1.9 Currículo mínimo para treinamento de segurança na operação de Caldeiras: Noções de física aplicada. Pressão. Pressão atmosférica. Pressão manométrica e pressão absoluta. Pressão interna em caldeiras. Unidades de pressão. Transferência de calor. Noções gerais: o que é calor, o que é temperatura. Modos de transferência de calor. Calor específico e calor sensível. Transferência de calor a temperatura constante. Termodinâmica. Conceitos Vapor saturado e vapor superaquecido. Mecânica dos Fluidos. Conceitos fundamentais. Pressão em escoamento. Escoamento de gases. Noções de química aplicada. Densidade. Solubilidade. Difusão de gases e vapores. Caracterização de ácido e base (Álcalis) - Definição de pH. Fundamentos básicos sobre corrosão. Considerações gerais sobre caldeiras. Tipos de caldeiras e suas utilizações. Caldeiras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flamotubulare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. Caldeiras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aquatubulares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. Caldeiras elétricas. Caldeiras a combustíveis sólidos. Caldeiras a combustíveis líquidos. Caldeiras a gás. Acessórios de caldeiras. Instrumentos e dispositivos de controle de caldeiras. Dispositivo de alimentação. Visor de nível. Sistema de controle de nível. Indicadores de pressão. Dispositivos de segurança. Dispositivos auxiliares. Válvulas e tubulações. Tiragem de fumaça. Sistema instrumentado de segurança. Operação de caldeiras. Partida e parada. Regulagem e controle: de temperatura, de pressão, de fornecimento de energia, do  nível de água, de poluentes e de combustão. Falhas de operação, causas e providências. Roteiro de vistoria diária. Operação de um sistema de várias caldeiras. Procedimentos para situações de emergência. Tratamento de água de caldeiras. Impurezas da água e suas consequências. Tratamento de água de alimentação. Controle de água de caldeira. Prevenção contra explosões e outros riscos. Riscos gerais de acidentes e riscos à saúde. Riscos de explosão. Estudos de caso. Legislação e normalização. Norma Regulamentadora nº 13 (NR-13). Categoria de caldeiras B. Tópicos de inspeção e manutenção de equipamentos e registros.</a:t>
            </a:r>
          </a:p>
          <a:p>
            <a:endParaRPr lang="pt-BR" sz="2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2D855780-EB99-880E-0B54-B5E2A3D868D7}"/>
              </a:ext>
            </a:extLst>
          </p:cNvPr>
          <p:cNvSpPr txBox="1"/>
          <p:nvPr/>
        </p:nvSpPr>
        <p:spPr>
          <a:xfrm>
            <a:off x="827494" y="5691739"/>
            <a:ext cx="9107208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19 conforme atividade desempenhada pelo empreg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 Anual / carga horaria  a critério do empregad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</p:txBody>
      </p:sp>
      <p:pic>
        <p:nvPicPr>
          <p:cNvPr id="12" name="Imagem 1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ACEFBD9E-F314-19E7-B983-FC3F8923975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0CC52EF3-3F4E-8041-1F69-538E389294B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2798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5B1252-1396-F767-26B2-60AA7890AD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970CA6F0-BB85-96E6-7FFF-91038AF9CECA}"/>
              </a:ext>
            </a:extLst>
          </p:cNvPr>
          <p:cNvSpPr/>
          <p:nvPr/>
        </p:nvSpPr>
        <p:spPr>
          <a:xfrm>
            <a:off x="13052865" y="-1357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12F6839D-73C4-B70F-03CA-44CF28A066A4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D8868014-D60D-E21A-B5C6-500D0ADF8137}"/>
              </a:ext>
            </a:extLst>
          </p:cNvPr>
          <p:cNvSpPr txBox="1"/>
          <p:nvPr/>
        </p:nvSpPr>
        <p:spPr>
          <a:xfrm>
            <a:off x="982764" y="865313"/>
            <a:ext cx="8419770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3 – CALDEIRAS, VASOS DE PRESSÃO, TUBULAÇÕES E TANQUES METÁLICOS DE ARMAZENAMENTO 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FEF2BC6-3E6D-BDC7-4542-BF4716954D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17" y="370425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5304C1E-CB09-AFF2-B222-C8C201965239}"/>
              </a:ext>
            </a:extLst>
          </p:cNvPr>
          <p:cNvSpPr txBox="1"/>
          <p:nvPr/>
        </p:nvSpPr>
        <p:spPr>
          <a:xfrm>
            <a:off x="1048953" y="4122079"/>
            <a:ext cx="9041019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referente a VASOS DE PRESSÃO conforme item 2 do Anexo I da NR13</a:t>
            </a:r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6857179-5C26-A691-939C-FE6B9DF121F7}"/>
              </a:ext>
            </a:extLst>
          </p:cNvPr>
          <p:cNvSpPr txBox="1"/>
          <p:nvPr/>
        </p:nvSpPr>
        <p:spPr>
          <a:xfrm>
            <a:off x="11062524" y="1208943"/>
            <a:ext cx="12564347" cy="104951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2.10 Currículo mínimo para treinamento de segurança na operação de unidades de processo: Noções de física aplicada. Pressão. Pressão atmosférica. Pressão manométrica e pressão absoluta. Pressão interna, pressão externa e vácuo. Unidades de pressão. Transferência de calor. Noções gerais: o que é calor, o que é temperatura. Modos de transferência de calor. Calor específico e calor sensível. Transferência de calor a temperatura constante. Termodinâmica. Conceitos. Vapor saturado e vapor superaquecido. Mecânica dos fluidos. Conceitos fundamentais. Pressão em escoamento. Tipos de escoamento: laminar e turbulento. Escoamento de líquidos: transferência por gravidade, diferença de pressão, sifão. Perda de carga: conceito, rugosidade, acidentes. Princípio de bombeamento de fluidos. Noções de química aplicada. Densidade. Solubilidade. Difusão de gases e vapores. Caracterização de ácido e base (Álcalis) - Definição de pH. Fundamentos básicos sobre corrosão. Equipamentos de processo (carga horária estabelecida de acordo com a complexidade da unidade, onde aplicável). Acessórios de tubulações. Acessórios elétricos e outros itens. Aquecedores de água. Bombas. Caldeiras (conhecimento básico). Compressores. Condensador. </a:t>
            </a:r>
            <a:r>
              <a:rPr lang="pt-BR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Desmineralizador</a:t>
            </a: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. Esferas. Evaporadores. Filtros. Lavador de gases. Reatores. Resfriador. Secadores. Silos. Tanques de armazenamento. Torres. Trocadores calor. Tubulações industriais. Turbinas a vapor. Injetores e ejetores. Dispositivos de segurança. Outros. Instrumentação. Operação da unidade. Descrição do processo. Partida e parada. Procedimentos de emergência. Descarte de produtos químicos e preservação do meio ambiente. Avaliação e controle de riscos inerentes ao processo. Prevenção contra deterioração, explosão e outros riscos. Legislação e normalização. Norma Regulamentadora nº 13 (NR-13). Categorias de vasos de pressão. Tópicos de inspeção e manutenção de equipamentos e registros.</a:t>
            </a:r>
          </a:p>
          <a:p>
            <a:endParaRPr lang="pt-BR" sz="2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8B981AAF-A342-2130-57DB-5676983BED81}"/>
              </a:ext>
            </a:extLst>
          </p:cNvPr>
          <p:cNvSpPr txBox="1"/>
          <p:nvPr/>
        </p:nvSpPr>
        <p:spPr>
          <a:xfrm>
            <a:off x="760991" y="6210892"/>
            <a:ext cx="9328981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19 conforme atividade desempenhada pelo empreg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 Anual / carga horaria  a critério do empregad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</p:txBody>
      </p:sp>
      <p:pic>
        <p:nvPicPr>
          <p:cNvPr id="9" name="Imagem 8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4BD40C15-15CC-475B-3E41-3AA668DA646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A05713BE-4E3B-694D-3847-2BB6FDCE16B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4587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875520" y="0"/>
            <a:ext cx="14204595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532235" y="1541037"/>
            <a:ext cx="866958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CERTIFICADO DE TREINAMENTO MOPP - MOVIMENTAÇÃO OPERACIONAL DE PRODUTOS PERIGOSO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34" y="476914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71634" y="5567327"/>
            <a:ext cx="7790784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rata-se do certificado expedido por uma instituição legalmente habilitada para ministrar cursos de capacitação de profissionais para atividades que envolvem movimentação operacional de produtos perigosos, com a identificação e assinatura do responsável técnico por ministrar o curso, bem como do conteúdo programático e carga horária.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0829446" y="6739103"/>
            <a:ext cx="13250669" cy="64017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  <a:p>
            <a:r>
              <a:rPr lang="pt-BR" sz="25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5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o Certificado de Treinamento MOPP – Movimentação Operacional de Produtos Perigosos, que pode ser obtido junto à área de segurança e medicina do trabalh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 e a qualificação do(s) instrutor(es) (formação, cargo e/ou função)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icial: 50h / Reciclagem: 16h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 de conclusão do treina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: Vitalício, cursos válidos após </a:t>
            </a:r>
            <a:r>
              <a:rPr lang="pt-BR" sz="25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 de dezembro de 2025.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r>
              <a:rPr lang="pt-BR" sz="25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ras do Novo MOPP:</a:t>
            </a:r>
          </a:p>
          <a:p>
            <a:r>
              <a:rPr lang="pt-BR" sz="25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uem estava com o MOPP válido em 9 de dezembro de 2025 não precisa mais renovar. Se o curso de MOPP venceu antes de 09/12/2025, a renovação ainda é necessária para regularização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8FA6035-D09F-1601-E633-1A047BC078A8}"/>
              </a:ext>
            </a:extLst>
          </p:cNvPr>
          <p:cNvSpPr txBox="1"/>
          <p:nvPr/>
        </p:nvSpPr>
        <p:spPr>
          <a:xfrm>
            <a:off x="10919698" y="3643723"/>
            <a:ext cx="12984711" cy="384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conteúdo deve estar em conformidade com o treinamento ministrado, indicando critérios mínimos de capacitação para operação do equipamento e/ou veículo específico de acordo com a Norma Legislativa que versa sobre o referido treinament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8" name="Picture 2" descr="Curso MOPP - O que é? Onde Fazer? Qual a validade? - Espaço do SESMT">
            <a:extLst>
              <a:ext uri="{FF2B5EF4-FFF2-40B4-BE49-F238E27FC236}">
                <a16:creationId xmlns:a16="http://schemas.microsoft.com/office/drawing/2014/main" id="{E9BD11D5-353E-A268-9D16-1A4AB1E4A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8205" y="292411"/>
            <a:ext cx="9347525" cy="3589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352C5859-E188-70DC-2481-CCEB8FBEA96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645715E-2756-EDBE-D7FB-B6BDB1AD86C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55208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398063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06819" y="706619"/>
            <a:ext cx="908150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17: TREINAMENTO / CAPACITAÇÃO PARA TRABALHO EM TELEATENDIMENT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670" y="320590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110217" y="3571419"/>
            <a:ext cx="9041019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 </a:t>
            </a:r>
          </a:p>
          <a:p>
            <a:endParaRPr lang="pt-BR" sz="28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belecer os requisitos para o trabalho em atividades de </a:t>
            </a:r>
            <a:r>
              <a:rPr lang="pt-BR" sz="28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leatendimento</a:t>
            </a:r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telemarketing nas diversas modalidades desse serviço, de modo a proporcionar o máximo de conforto, segurança, saúde e desempenho eficiente. </a:t>
            </a:r>
          </a:p>
          <a:p>
            <a:endParaRPr lang="pt-BR" sz="3200" dirty="0">
              <a:solidFill>
                <a:srgbClr val="000000"/>
              </a:solidFill>
              <a:latin typeface="Montserrat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833395" y="1852983"/>
            <a:ext cx="12100032" cy="10495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 sobre os fatores de risco para a saúde em </a:t>
            </a: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leatendiment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telemarketing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didas de prevenção indicadas para a redução dos riscos relacionados ao trabalh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ções sobre os sintomas de adoecimento que possam estar relacionados à atividade de </a:t>
            </a:r>
            <a:r>
              <a:rPr lang="pt-BR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leatendimento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telemarketing, principalmente os que envolvam o sistema osteomuscular, a saúde mental, as funções vocais, auditivas e acuidade visual dos trabalhadore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formações sobre a utilização correta dos mecanismos de ajuste do mobiliário e dos equipamentos dos postos de trabalho, incluindo orientação para alternância de orelhas no uso dos fones mono ou biauriculares e limpeza e substituição de tubos de voz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treinamento é composto por quatro horas de duraçã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inistrado na data de admissão do operador, dentro da sua jornada de trabalho. Contudo, a cada seis meses deve ser feita uma reciclagem ou sempre que a empresa adotar novos métodos de trabalho, novos equipamentos ou qualquer outro procedimento que ofereça novos riscos ao profissional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endParaRPr lang="pt-BR" sz="24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8" name="Picture 6" descr="Treinamento NR 17 Ergonomia | Curso | EAD | Presencial | Ao Vivo">
            <a:extLst>
              <a:ext uri="{FF2B5EF4-FFF2-40B4-BE49-F238E27FC236}">
                <a16:creationId xmlns:a16="http://schemas.microsoft.com/office/drawing/2014/main" id="{B6EF803D-8278-AE63-51B4-47C485D0C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217" y="7259602"/>
            <a:ext cx="7295266" cy="5735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CC00092-CDB8-0A7F-6547-E2ECD8F9062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B2C34EC2-2175-D948-46B6-12EDB574C61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7911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1773245"/>
            <a:ext cx="7546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-18: TREINAMENTO BÁSICO EM SEGURANÇA DO TRABALHO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84937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4319781"/>
            <a:ext cx="744753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sta norma se aplica às atividades da indústria da construção constantes da seção “F” do Código Nacional de atividades Econômicas - CNAE e às atividades e serviços de demolição, reparo, pintura, limpeza e manutenção de edifícios em geral e de manutenção de</a:t>
            </a: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bras de urbanização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1027664" y="399649"/>
            <a:ext cx="12046227" cy="65556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Treinamento Básico em segurança do trabalh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nome completo e assinatura do funcionári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a indicação da data, local de realização do treinamento e carga horária.</a:t>
            </a:r>
            <a:endParaRPr lang="en-US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conter o nome completo , a qualificação do(s) instrutor(es) e assinatur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4 hora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8FA6035-D09F-1601-E633-1A047BC078A8}"/>
              </a:ext>
            </a:extLst>
          </p:cNvPr>
          <p:cNvSpPr txBox="1"/>
          <p:nvPr/>
        </p:nvSpPr>
        <p:spPr>
          <a:xfrm>
            <a:off x="11027664" y="6397263"/>
            <a:ext cx="12984711" cy="6063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a capacitação básica em segurança do trabalho: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. as condições e meio ambiente de trabalh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. os riscos inerentes às atividades desenvolvid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I. os equipamentos e proteção coletiva existentes no canteiro de obr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V. o uso adequado dos equipamentos de proteção individual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. o PGR do canteiro de obras.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3" name="Picture 4" descr="NR 18 – Yniatos">
            <a:extLst>
              <a:ext uri="{FF2B5EF4-FFF2-40B4-BE49-F238E27FC236}">
                <a16:creationId xmlns:a16="http://schemas.microsoft.com/office/drawing/2014/main" id="{E54E6768-17AE-8AE7-7824-0044C1840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100" y="9267742"/>
            <a:ext cx="3054318" cy="3054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0E5437E-A619-6640-8A83-172AF310F44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9FE4011-4963-3BB6-2F78-251672CCFF7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82647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7992" y="1566592"/>
            <a:ext cx="7546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18 - OPERAÇÃO DE GRUA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2823314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387365" y="3281325"/>
            <a:ext cx="8646908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Esta norma se aplica às atividades da indústria da construção constantes da seção “F” do Código Nacional de atividades Econômicas - CNAE e às atividades e serviços de demolição, reparo, pintura, limpeza e manutenção de edifícios em geral e de manutenção de obras de urbanização. Os trabalhadores designados para operação de grua, conforme determina a NR 18, devem ser devidamente treinados, através de curso de capacitação. Assim, deve ser depositado o Certificado de Treinamento que comprova a capacitação recebida pelo empregado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0678395" y="2111774"/>
            <a:ext cx="13401720" cy="96334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Operação de grua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80 horas, sendo pelo menos 40 horas para a parte prátic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S. 1.2 No caso das gruas e guindastes, além do treinamento teórico e prático, o operador deve passar por um estágio supervisionado de pelo menos 90 (noventa) dias. 1.2.1 O estágio supervisionado pode ser dispensado para o operador com experiência comprovada de, no mínimo, 6 (seis) meses na função, a critério e sob responsabilidade do empregador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DA25FEF4-06D1-FA26-714D-0044C6ADA82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67A4AE6-5D51-D46E-4CEB-E40BB2E6F6D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4015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4757210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78395" y="2"/>
            <a:ext cx="13699255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1876371"/>
            <a:ext cx="7546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18 - OPERAÇÃO DE GRUA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718" y="3256430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742220" y="3838479"/>
            <a:ext cx="74475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 operador de gru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584158" y="4598050"/>
            <a:ext cx="9232061" cy="79714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. operação e inspeção diária do equipament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I. atuação dos dispositivos de segurança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II. sinalização manual e por comunicação via rádi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V. isolamento de áreas sob cargas suspens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V. amarração de carga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. identificação visual de danos em polias, ganchos, cabos de aço e cintas sintética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I. prevenção de acidente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II. cuidados com linhas de alta tensão próxima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X. fundamentos da NR-35 que trata de trabalho em altura;</a:t>
            </a:r>
          </a:p>
          <a:p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3" name="Picture 2" descr="Gruas são equipamentos utilizados na construção civil para movimentar  objetos tanto na direção vertical como na horizontal - INDAGAÇÃO">
            <a:extLst>
              <a:ext uri="{FF2B5EF4-FFF2-40B4-BE49-F238E27FC236}">
                <a16:creationId xmlns:a16="http://schemas.microsoft.com/office/drawing/2014/main" id="{1A3B5243-5F50-AFB5-8394-364F66444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0814" y="3389864"/>
            <a:ext cx="12934506" cy="7243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632AEF7-F3D4-3C15-90F5-A0417BACA69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88776BDA-A27C-BF77-73B5-F7ACBF73B2D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959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6B8E5-E5A2-87C4-AB69-7F02D2E69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>
            <a:extLst>
              <a:ext uri="{FF2B5EF4-FFF2-40B4-BE49-F238E27FC236}">
                <a16:creationId xmlns:a16="http://schemas.microsoft.com/office/drawing/2014/main" id="{A2ACEBB1-4F5E-8ACC-7198-E6E966044376}"/>
              </a:ext>
            </a:extLst>
          </p:cNvPr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>
            <a:extLst>
              <a:ext uri="{FF2B5EF4-FFF2-40B4-BE49-F238E27FC236}">
                <a16:creationId xmlns:a16="http://schemas.microsoft.com/office/drawing/2014/main" id="{CC04D0BB-CF25-D405-2EC5-622589330C70}"/>
              </a:ext>
            </a:extLst>
          </p:cNvPr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369EA0A5-F992-51E6-4A23-827EA613A42D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>
              <a:extLst>
                <a:ext uri="{FF2B5EF4-FFF2-40B4-BE49-F238E27FC236}">
                  <a16:creationId xmlns:a16="http://schemas.microsoft.com/office/drawing/2014/main" id="{9DE9E989-56CB-828F-ABB2-391BE28D6C2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1759C51C-09E0-6D2C-106D-1A16C0197153}"/>
              </a:ext>
            </a:extLst>
          </p:cNvPr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AD76BAEB-C855-A53B-9089-F6CE97DEAF82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515773BB-C794-EC8F-A452-4C11C22F49C8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>
            <a:extLst>
              <a:ext uri="{FF2B5EF4-FFF2-40B4-BE49-F238E27FC236}">
                <a16:creationId xmlns:a16="http://schemas.microsoft.com/office/drawing/2014/main" id="{46D3885D-4AA6-9DBB-AFEE-B6C2FE0F7F17}"/>
              </a:ext>
            </a:extLst>
          </p:cNvPr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02C0338B-7723-742C-ED20-6AAB5C277DB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>
              <a:extLst>
                <a:ext uri="{FF2B5EF4-FFF2-40B4-BE49-F238E27FC236}">
                  <a16:creationId xmlns:a16="http://schemas.microsoft.com/office/drawing/2014/main" id="{DAD692DB-AC0C-7FA1-A8C5-76EE969307ED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>
            <a:extLst>
              <a:ext uri="{FF2B5EF4-FFF2-40B4-BE49-F238E27FC236}">
                <a16:creationId xmlns:a16="http://schemas.microsoft.com/office/drawing/2014/main" id="{A1398BA9-D3B0-75AE-A59A-F3C9EB03B5C6}"/>
              </a:ext>
            </a:extLst>
          </p:cNvPr>
          <p:cNvSpPr/>
          <p:nvPr/>
        </p:nvSpPr>
        <p:spPr>
          <a:xfrm>
            <a:off x="10878401" y="2075181"/>
            <a:ext cx="12188825" cy="747897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ntos importantes: 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spensam o MEI de elaborar o PGR, mas exigem que a organização contratante o inclua em suas ações de prevenção. Item 1.8.6 e 1.8.7.1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tivo da Exigência: Esta medida visa assegurar a conformidade legal e garantir a saúde e segurança de todos os envolvidos, promovendo um ambiente de trabalho mais seguro e alinhado às normas regulamentadoras. Contamos com a sua compreensão e colaboração para o cumprimento desta nova exigência. Para quaisquer dúvidas ou esclarecimentos, favor entrar em contato com nosso atendi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15B5E4D8-8410-E2BB-F42F-9B82CBDA33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E65D8C91-B343-D8AB-4FB5-689F37298306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4F25A4D7-114E-6A5E-47A5-EE8C1BCF41A7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BA339C13-1C8C-4B04-769F-2F2DCCDD85CA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AAB7EEB3-1325-1121-B6F2-05F0024230D4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B1644864-E3E5-A3BC-07C8-2E82E1109BF6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B64E5A6D-5855-EFC0-6DEA-2D1D8723D9A5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B82C389C-8667-0BBA-2787-8FA18E168676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PGR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AF5ECF01-BAEB-E884-3EAA-18A98C0C37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21774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322904" y="0"/>
            <a:ext cx="14757211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1942197"/>
            <a:ext cx="754692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18 -OPERAÇÃO DE GUINDAST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33028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387364" y="3682248"/>
            <a:ext cx="8850940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se aplica às atividades da indústria da construção constantes da seção “F” do Código Nacional de atividades Econômicas - CNAE e às atividades e serviços de demolição, reparo, pintura, limpeza e manutenção de edifícios em geral e de manutenção de obras de urbanização. Os trabalhadores designados para operação de guindaste, conforme determina a NR 18, devem ser devidamente treinados, através de curso de capacitação. Assim, deve ser depositado o Certificado de Treinamento que comprova a capacitação recebida pelo empregado.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0678395" y="2207010"/>
            <a:ext cx="13401720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 de guindaste com Validade Bianua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5A6E9C87-8A45-4E10-4B61-9C20A241C8D2}"/>
              </a:ext>
            </a:extLst>
          </p:cNvPr>
          <p:cNvGrpSpPr/>
          <p:nvPr/>
        </p:nvGrpSpPr>
        <p:grpSpPr>
          <a:xfrm>
            <a:off x="17379255" y="6539949"/>
            <a:ext cx="6785460" cy="2624222"/>
            <a:chOff x="67646" y="4993741"/>
            <a:chExt cx="3816221" cy="1180406"/>
          </a:xfrm>
        </p:grpSpPr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0188188A-4777-6D1F-C673-C801BBFE1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646" y="4993741"/>
              <a:ext cx="3816220" cy="593615"/>
            </a:xfrm>
            <a:prstGeom prst="rect">
              <a:avLst/>
            </a:prstGeom>
          </p:spPr>
        </p:pic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2F1F0258-BB7C-D131-1526-8B4B61D9A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646" y="5587356"/>
              <a:ext cx="2985796" cy="586791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D8F447C8-4508-305C-7357-E966B85B8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53443" y="5561145"/>
              <a:ext cx="830424" cy="613002"/>
            </a:xfrm>
            <a:prstGeom prst="rect">
              <a:avLst/>
            </a:prstGeom>
          </p:spPr>
        </p:pic>
      </p:grp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E25545BE-B624-FD27-0F7D-4F14C287476E}"/>
              </a:ext>
            </a:extLst>
          </p:cNvPr>
          <p:cNvSpPr/>
          <p:nvPr/>
        </p:nvSpPr>
        <p:spPr>
          <a:xfrm>
            <a:off x="10692861" y="6300438"/>
            <a:ext cx="6240262" cy="5472175"/>
          </a:xfrm>
          <a:prstGeom prst="roundRect">
            <a:avLst/>
          </a:prstGeom>
          <a:solidFill>
            <a:srgbClr val="0143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latin typeface="Verdana" panose="020B0604030504040204" pitchFamily="34" charset="0"/>
                <a:ea typeface="Verdana" panose="020B0604030504040204" pitchFamily="34" charset="0"/>
              </a:rPr>
              <a:t>Para o operador de guindaste: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I. todos os itens previstos na capacitação para operação de gruas; 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II. leitura e interpretação de plano de </a:t>
            </a:r>
            <a:r>
              <a:rPr lang="pt-BR" sz="2400" dirty="0" err="1">
                <a:latin typeface="Verdana" panose="020B0604030504040204" pitchFamily="34" charset="0"/>
                <a:ea typeface="Verdana" panose="020B0604030504040204" pitchFamily="34" charset="0"/>
              </a:rPr>
              <a:t>içamento</a:t>
            </a:r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; </a:t>
            </a: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III. condições que afetam a capacidade de carga da máquina, em especial quanto ao nivelamento, características da superfície sob a máquina, carga dinâmica e vento. 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29E16EF5-FC69-8561-3A80-6411D6E9FEE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EDAFE27A-85FC-038D-44E1-29CBB2F939C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1490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154395" y="2"/>
            <a:ext cx="14757211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6" y="1204208"/>
            <a:ext cx="754692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- OPERADOR DE EQUIPAMENTOS DE GUINDAR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33028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4328579"/>
            <a:ext cx="744753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odo trabalhador designado para operação de equipamento de guindar (ex.: Ponte rolante; Caminhão 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Munck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; Guincho; Etc.)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1073789" y="2266037"/>
            <a:ext cx="12320753" cy="10002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 de equipamento de guindar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a critério do empregador, sendo pelo menos 50% para a parte prática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b) para o operador de equipamento de guindar: o conteúdo programático descrito no Anexo II da NR-12 ou definido pelo fabricante/locador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latin typeface="Montserrat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pic>
        <p:nvPicPr>
          <p:cNvPr id="3" name="Picture 2" descr="Bombeiroswaldo: Equipamento de Guindar (NR-18) - Bombeiroswaldo">
            <a:extLst>
              <a:ext uri="{FF2B5EF4-FFF2-40B4-BE49-F238E27FC236}">
                <a16:creationId xmlns:a16="http://schemas.microsoft.com/office/drawing/2014/main" id="{2C131E6A-0676-EC55-3B95-EFB95B22E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106" y="7859645"/>
            <a:ext cx="7447531" cy="3934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94852D7-15E0-E39E-AC4A-F6F9FEE756E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51E98791-1720-EB8F-B971-D3ECDD58CBD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24993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-1" y="-19878"/>
            <a:ext cx="13548205" cy="137557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888453" y="-19878"/>
            <a:ext cx="13338921" cy="1375576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83718" y="992603"/>
            <a:ext cx="935911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- SINALEIRO/AMARRADOR DE CARG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06043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3472766"/>
            <a:ext cx="9284294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É um treinamento para todo</a:t>
            </a: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 trabalhador que envolvem a função de Sinalização/Amarração de Cargas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2097604" y="1401814"/>
            <a:ext cx="12750821" cy="10002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Sinalização/Amarração de Carga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16 hora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Bianu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 sinaleiro/</a:t>
            </a:r>
            <a:r>
              <a:rPr lang="pt-BR" sz="3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marrador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arga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. sinalização manual e por comunicação via rádi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. isolamentos seguros de áreas sob cargas suspensa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I. amarração de cargas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V. conhecimento para inspeções visuais das condições de uso e conformidade de ganchos, cabos de aço, cintas sintéticas e de todos outros elementos e acessórios utilizados no </a:t>
            </a:r>
            <a:r>
              <a:rPr lang="pt-BR" sz="3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çament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carga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600" dirty="0">
              <a:latin typeface="Montserrat" pitchFamily="2" charset="0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4CE61DFC-2AF6-FED0-9479-1AF0B03178B4}"/>
              </a:ext>
            </a:extLst>
          </p:cNvPr>
          <p:cNvGrpSpPr/>
          <p:nvPr/>
        </p:nvGrpSpPr>
        <p:grpSpPr>
          <a:xfrm>
            <a:off x="1142377" y="6350773"/>
            <a:ext cx="9388759" cy="6156915"/>
            <a:chOff x="1142378" y="7167199"/>
            <a:chExt cx="8180526" cy="5364586"/>
          </a:xfrm>
        </p:grpSpPr>
        <p:pic>
          <p:nvPicPr>
            <p:cNvPr id="3" name="Picture 6" descr="INTEGRAÇÃO OPERACIONAL ESTIVA - RG - ppt carregar">
              <a:extLst>
                <a:ext uri="{FF2B5EF4-FFF2-40B4-BE49-F238E27FC236}">
                  <a16:creationId xmlns:a16="http://schemas.microsoft.com/office/drawing/2014/main" id="{4A713674-913F-F41D-E41D-BE9ABC1CD4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378" y="7167199"/>
              <a:ext cx="3866944" cy="2900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8" descr="Centro de gravidade e cargas simétrica e assimétrica">
              <a:extLst>
                <a:ext uri="{FF2B5EF4-FFF2-40B4-BE49-F238E27FC236}">
                  <a16:creationId xmlns:a16="http://schemas.microsoft.com/office/drawing/2014/main" id="{1D260F54-B029-89C5-35FE-A37DA3CBC3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378" y="10187021"/>
              <a:ext cx="3866944" cy="23177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">
              <a:extLst>
                <a:ext uri="{FF2B5EF4-FFF2-40B4-BE49-F238E27FC236}">
                  <a16:creationId xmlns:a16="http://schemas.microsoft.com/office/drawing/2014/main" id="{5FCEC817-6AA2-62BD-D079-760ACAD432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3513" y="7167199"/>
              <a:ext cx="4159391" cy="53645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0145ABBF-3939-F935-85B4-076DB6EF0E0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1406C009-512C-FC97-2CEB-C468C755FBB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72987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-1" y="-19878"/>
            <a:ext cx="13548205" cy="13755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888453" y="-19878"/>
            <a:ext cx="13338921" cy="1375576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47142" y="1576206"/>
            <a:ext cx="855419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– OPERAÇÃO DE ELEVADOR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060436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983108" y="3685660"/>
            <a:ext cx="92597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Todo trabalhador designado para operação de elevador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2381506" y="3236786"/>
            <a:ext cx="1137176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: inicial 16 horas e  Periódico 4 hora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Deve conter o tipo de elevador que o trabalhador foi trein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Operação de elevador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Anual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</p:txBody>
      </p:sp>
      <p:pic>
        <p:nvPicPr>
          <p:cNvPr id="3" name="Picture 6" descr="гордост клипс Мартин Лутър Кинг Джуниър cavalete montagem elevadores искам  път тофу">
            <a:extLst>
              <a:ext uri="{FF2B5EF4-FFF2-40B4-BE49-F238E27FC236}">
                <a16:creationId xmlns:a16="http://schemas.microsoft.com/office/drawing/2014/main" id="{145B40F1-033A-6D8D-A1BF-B5252C706C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756" y="5563262"/>
            <a:ext cx="6145926" cy="6688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9F7CE28-7B3E-24AA-D242-DEAB6E70A00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83254278-295D-4B8A-7BB9-125F251835B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58794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475721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78395" y="2"/>
            <a:ext cx="13699255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16215" y="1112972"/>
            <a:ext cx="961786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18 - OPERADOR DE PLATAFORMA ELEVATÓRIA MÓVEL DE TRABALHO (PEMT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718" y="3291062"/>
            <a:ext cx="2301735" cy="133434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2099580" y="2976736"/>
            <a:ext cx="9232061" cy="89562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Operador de plataforma elevatória móvel de trabalho.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de mínimo 4 horas.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g) para o operador de PEMT: conforme disposto em norma técnica nacional vigente. ( NBR 16776 Plataformas Elevatórias Moveis Páginas 88 / 89)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: 2 anos</a:t>
            </a:r>
          </a:p>
          <a:p>
            <a:endParaRPr lang="pt-BR" sz="3200" dirty="0">
              <a:latin typeface="Montserrat" pitchFamily="2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E1F5ED2E-194A-7714-757D-598B4E418E91}"/>
              </a:ext>
            </a:extLst>
          </p:cNvPr>
          <p:cNvSpPr txBox="1"/>
          <p:nvPr/>
        </p:nvSpPr>
        <p:spPr>
          <a:xfrm>
            <a:off x="1452129" y="3661906"/>
            <a:ext cx="1137176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xemplo de certificado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" name="Imagem 2" descr="Texto preto sobre fundo branco&#10;&#10;O conteúdo gerado por IA pode estar incorreto.">
            <a:extLst>
              <a:ext uri="{FF2B5EF4-FFF2-40B4-BE49-F238E27FC236}">
                <a16:creationId xmlns:a16="http://schemas.microsoft.com/office/drawing/2014/main" id="{0F016F21-F5B2-16B8-2485-B47D3C1019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072" y="4440191"/>
            <a:ext cx="9708573" cy="7749018"/>
          </a:xfrm>
          <a:prstGeom prst="rect">
            <a:avLst/>
          </a:prstGeom>
        </p:spPr>
      </p:pic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A063C5A-9127-98DA-13AA-B1CD9261A61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0477C2FA-7A09-FD25-A065-EE002DA0816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2865316" y="1597233"/>
            <a:ext cx="101958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</p:txBody>
      </p:sp>
    </p:spTree>
    <p:extLst>
      <p:ext uri="{BB962C8B-B14F-4D97-AF65-F5344CB8AC3E}">
        <p14:creationId xmlns:p14="http://schemas.microsoft.com/office/powerpoint/2010/main" val="229761835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570937" y="2239639"/>
            <a:ext cx="1594545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18 - MONTAGEM E DESMONTAGEM DE ANDAIME ESPECÍFICO PARA O TIPO DE ANDAIME EM OPERAÇÃ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0937" y="4293127"/>
            <a:ext cx="2301735" cy="133434"/>
          </a:xfrm>
          <a:prstGeom prst="rect">
            <a:avLst/>
          </a:prstGeom>
        </p:spPr>
      </p:pic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34E72C0-2D13-F961-1D7A-C546C1434FF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DCA6AA03-F7FE-BA80-17BA-F6BA4CDC858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9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0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379869" y="-4150808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570937" y="5330942"/>
            <a:ext cx="2001543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</a:t>
            </a:r>
          </a:p>
          <a:p>
            <a:endParaRPr lang="pt-BR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Montagem e desmontagem de andaime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critério do empregador: (Carga horária)(Validade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 Deve conter o tipo de Andaime que o trabalhador foi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  <a:p>
            <a:endParaRPr lang="pt-BR" sz="3600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99999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2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712728" y="-73152"/>
            <a:ext cx="11324785" cy="13789152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2356547" y="-219456"/>
            <a:ext cx="12516443" cy="1424635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31109" y="914013"/>
            <a:ext cx="7546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18 – UTILIZAÇÃO DE CADEIRA SUSPENS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735" y="2358473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3548205" y="2993537"/>
            <a:ext cx="1091026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Utilização de Cadeira Suspens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Anual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Inicial: 16 horas, sendo pelo menos 8 horas para a parte prática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715128" y="2752637"/>
            <a:ext cx="10907134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para os trabalhadores que utilizam cadeira suspensa: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. modo de operação;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I. técnicas de descida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II. tipos de ancoragem;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IV. tipos de nós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. manutenção dos equipamentos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I. procedimentos de segurança; </a:t>
            </a: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VII. técnicas de autor resgate. 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E76E79E-A368-6C34-7F19-6968484BE85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AAECC8BE-D5DB-78B8-0D60-C8E903829D0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grpSp>
        <p:nvGrpSpPr>
          <p:cNvPr id="16" name="Agrupar 15"/>
          <p:cNvGrpSpPr/>
          <p:nvPr/>
        </p:nvGrpSpPr>
        <p:grpSpPr>
          <a:xfrm>
            <a:off x="193682" y="6983685"/>
            <a:ext cx="11852544" cy="6439707"/>
            <a:chOff x="1297666" y="1845128"/>
            <a:chExt cx="21782315" cy="10025743"/>
          </a:xfrm>
        </p:grpSpPr>
        <p:sp>
          <p:nvSpPr>
            <p:cNvPr id="17" name="Retângulo: Cantos Arredondados 2">
              <a:extLst>
                <a:ext uri="{FF2B5EF4-FFF2-40B4-BE49-F238E27FC236}">
                  <a16:creationId xmlns:a16="http://schemas.microsoft.com/office/drawing/2014/main" id="{24021983-E8D1-93AB-A434-D2A44702B95E}"/>
                </a:ext>
              </a:extLst>
            </p:cNvPr>
            <p:cNvSpPr/>
            <p:nvPr/>
          </p:nvSpPr>
          <p:spPr>
            <a:xfrm>
              <a:off x="1297666" y="1845128"/>
              <a:ext cx="21782315" cy="10025743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670D50E1-9396-7946-15A3-0D20E5A793E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67968" y="2422226"/>
              <a:ext cx="11049172" cy="8736849"/>
            </a:xfrm>
            <a:custGeom>
              <a:avLst/>
              <a:gdLst/>
              <a:ahLst/>
              <a:cxnLst/>
              <a:rect l="l" t="t" r="r" b="b"/>
              <a:pathLst>
                <a:path w="10607040" h="4956048">
                  <a:moveTo>
                    <a:pt x="497480" y="0"/>
                  </a:moveTo>
                  <a:lnTo>
                    <a:pt x="10607040" y="0"/>
                  </a:lnTo>
                  <a:lnTo>
                    <a:pt x="10607040" y="4485407"/>
                  </a:lnTo>
                  <a:lnTo>
                    <a:pt x="10131692" y="4956048"/>
                  </a:lnTo>
                  <a:lnTo>
                    <a:pt x="0" y="4956048"/>
                  </a:lnTo>
                  <a:lnTo>
                    <a:pt x="0" y="492554"/>
                  </a:lnTo>
                  <a:close/>
                </a:path>
              </a:pathLst>
            </a:custGeom>
          </p:spPr>
        </p:pic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E26A8AE7-715E-3456-BBED-1FFB2C9F05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388" t="2007" r="22411" b="2501"/>
            <a:stretch/>
          </p:blipFill>
          <p:spPr>
            <a:xfrm>
              <a:off x="13168701" y="2922185"/>
              <a:ext cx="9448000" cy="79635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899546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405258" y="0"/>
            <a:ext cx="9665187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310896" y="1312068"/>
            <a:ext cx="909436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19 – CERTIFICADO DE TREINAMENTO PARA TRANSPORTE E MANUSEIO DE EXPLOSIV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317" y="411283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729317" y="5058234"/>
            <a:ext cx="8295040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 </a:t>
            </a:r>
          </a:p>
          <a:p>
            <a:endParaRPr lang="pt-BR" sz="32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Regulamentadora - NR tem o objetivo de estabelecer os requisitos e as medidas de prevenção para garantir as condições de segurança e saúde dos trabalhadores em todas as etapas da fabricação, manuseio, armazenamento e transporte de explosivos.</a:t>
            </a:r>
          </a:p>
          <a:p>
            <a:endParaRPr lang="pt-BR" sz="3200" dirty="0">
              <a:solidFill>
                <a:srgbClr val="000000"/>
              </a:solidFill>
              <a:latin typeface="Montserrat" pitchFamily="2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0821023" y="692336"/>
            <a:ext cx="13279948" cy="124033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19 conforme atividade desempenhada pelo empregado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Anual / carga horaria  a critério do empregad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 organizações devem promover o treinamento permanente dos seus trabalhadores, conforme programa e cronograma específico, elaborado pelo Serviço Especializado em Engenharia de Segurança e em Medicina do Trabalho - SESMT, quando houver, e ministrando-lhes todas as informações sobre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os riscos decorrentes das suas atividades produtivas e as medidas de prevenção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o PGR, especialmente no que diz respeito à prevenção de acidentes com explosivos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o Plano de Emergência e Combate a Incêndio e Explosão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Procedimentos Operacionais.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) a correta utilização e manutenção dos equipamentos de proteção individual, bem como as suas limitaçõe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F4E998F-B060-93EC-AB85-BA2686CD7C2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2FD86D8-5065-3EB6-02BC-512BE828D83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19990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-1" y="2"/>
            <a:ext cx="16361229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209250" y="2"/>
            <a:ext cx="14757211" cy="137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56209" y="933930"/>
            <a:ext cx="930867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20 – SEGURANÇA E SAÚDE DO TRABALHO COM INFLAMÁVEIS E COMBUSTÍVEI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209" y="3307951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573235" y="3783667"/>
            <a:ext cx="9391645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NR 20 do MTE estabelece os requisitos mínimos para a gestão da segurança e saúde no trabalho contra os fatores de risco de acidentes provenientes das atividades de extração, produção, armazenamento, transferência, manuseio e manipulação de inflamáveis e líquidos combustíveis. Os trabalhadores que atuam nessa área, conforme anexo I da NR 20, devem ser devidamente treinados, através de curso de capacitação. Assim, deve ser depositado o Certificado de Treinamento que comprova a capacitação recebida pelo empregado.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82668FA-C522-135C-40BE-2F13ED8CA6C1}"/>
              </a:ext>
            </a:extLst>
          </p:cNvPr>
          <p:cNvSpPr txBox="1"/>
          <p:nvPr/>
        </p:nvSpPr>
        <p:spPr>
          <a:xfrm>
            <a:off x="11314355" y="1348800"/>
            <a:ext cx="12546999" cy="5139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da NR 20 conforme atividade desempenhada pelo empregado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 carga horaria deve estar em conformidade com o tipo de treinamento e atividade, verificar tabela (1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 Conforme definido na tabela 2</a:t>
            </a:r>
          </a:p>
          <a:p>
            <a:endParaRPr lang="pt-BR" sz="4000" dirty="0">
              <a:latin typeface="Montserrat" pitchFamily="2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18A37E82-8217-7831-44F6-806FD85C6BD6}"/>
              </a:ext>
            </a:extLst>
          </p:cNvPr>
          <p:cNvGrpSpPr/>
          <p:nvPr/>
        </p:nvGrpSpPr>
        <p:grpSpPr>
          <a:xfrm>
            <a:off x="12908197" y="6422967"/>
            <a:ext cx="9116271" cy="7249582"/>
            <a:chOff x="6540757" y="2321704"/>
            <a:chExt cx="5584568" cy="4441046"/>
          </a:xfrm>
        </p:grpSpPr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14ADC156-C51E-5479-9368-9C5990374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40757" y="2321704"/>
              <a:ext cx="5584567" cy="2404106"/>
            </a:xfrm>
            <a:prstGeom prst="rect">
              <a:avLst/>
            </a:prstGeom>
          </p:spPr>
        </p:pic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D31D241F-9FB5-6BA6-EDB6-22C34D8AFE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40758" y="4725810"/>
              <a:ext cx="5584567" cy="2036940"/>
            </a:xfrm>
            <a:prstGeom prst="rect">
              <a:avLst/>
            </a:prstGeom>
          </p:spPr>
        </p:pic>
      </p:grp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B40ED22E-B541-F9D0-417F-BBBD8ED7CBE5}"/>
              </a:ext>
            </a:extLst>
          </p:cNvPr>
          <p:cNvSpPr/>
          <p:nvPr/>
        </p:nvSpPr>
        <p:spPr>
          <a:xfrm>
            <a:off x="450289" y="10831796"/>
            <a:ext cx="9308671" cy="62461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B19A8C34-EFD7-80C7-BE2F-9C2AFD60E79E}"/>
              </a:ext>
            </a:extLst>
          </p:cNvPr>
          <p:cNvSpPr txBox="1"/>
          <p:nvPr/>
        </p:nvSpPr>
        <p:spPr>
          <a:xfrm>
            <a:off x="656209" y="10845980"/>
            <a:ext cx="85597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1436C"/>
                </a:solidFill>
                <a:latin typeface="Montserrat" pitchFamily="2" charset="0"/>
              </a:rPr>
              <a:t>Conteúdo programático nos próximos slides </a:t>
            </a:r>
          </a:p>
        </p:txBody>
      </p:sp>
      <p:pic>
        <p:nvPicPr>
          <p:cNvPr id="3" name="Imagem 2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57296D7-55DB-9D6D-68D9-AC2F745707C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5BC4F642-5B29-7FCE-FF97-836FB00D507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78366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Imagem 35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B6D70177-2B9A-3BCC-DA17-55E3AA097A7C}"/>
              </a:ext>
            </a:extLst>
          </p:cNvPr>
          <p:cNvSpPr/>
          <p:nvPr/>
        </p:nvSpPr>
        <p:spPr>
          <a:xfrm>
            <a:off x="6275042" y="1274742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042A761-2BC0-4CA3-9EC7-CAC2EFE2F66A}"/>
              </a:ext>
            </a:extLst>
          </p:cNvPr>
          <p:cNvSpPr txBox="1"/>
          <p:nvPr/>
        </p:nvSpPr>
        <p:spPr>
          <a:xfrm>
            <a:off x="4364811" y="537925"/>
            <a:ext cx="1564802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200" b="1">
                <a:solidFill>
                  <a:schemeClr val="bg1"/>
                </a:solidFill>
                <a:latin typeface="Montserrat" pitchFamily="2" charset="0"/>
              </a:rPr>
              <a:t>Conteúdo Programático conforme tipo e nível de treinamento 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85830E6E-A2E9-AA4B-802B-CC237F7429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0965099"/>
              </p:ext>
            </p:extLst>
          </p:nvPr>
        </p:nvGraphicFramePr>
        <p:xfrm>
          <a:off x="419764" y="2224909"/>
          <a:ext cx="22924009" cy="13715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3" name="Diagrama 12">
            <a:extLst>
              <a:ext uri="{FF2B5EF4-FFF2-40B4-BE49-F238E27FC236}">
                <a16:creationId xmlns:a16="http://schemas.microsoft.com/office/drawing/2014/main" id="{6EB133C0-C16D-11C4-48E1-FAA9A01347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8242515"/>
              </p:ext>
            </p:extLst>
          </p:nvPr>
        </p:nvGraphicFramePr>
        <p:xfrm>
          <a:off x="1" y="4566085"/>
          <a:ext cx="23842831" cy="25745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19" name="Agrupar 18">
            <a:extLst>
              <a:ext uri="{FF2B5EF4-FFF2-40B4-BE49-F238E27FC236}">
                <a16:creationId xmlns:a16="http://schemas.microsoft.com/office/drawing/2014/main" id="{E36738D1-7528-C9B2-EC28-803FE5664FBD}"/>
              </a:ext>
            </a:extLst>
          </p:cNvPr>
          <p:cNvGrpSpPr/>
          <p:nvPr/>
        </p:nvGrpSpPr>
        <p:grpSpPr>
          <a:xfrm>
            <a:off x="534758" y="9494481"/>
            <a:ext cx="23587188" cy="3430842"/>
            <a:chOff x="3385796" y="10271747"/>
            <a:chExt cx="18771060" cy="3055886"/>
          </a:xfrm>
          <a:solidFill>
            <a:srgbClr val="FFFFFF"/>
          </a:solidFill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B01C0ED4-CE13-16E2-72E4-CBE8BA7D86F2}"/>
                </a:ext>
              </a:extLst>
            </p:cNvPr>
            <p:cNvSpPr/>
            <p:nvPr/>
          </p:nvSpPr>
          <p:spPr>
            <a:xfrm>
              <a:off x="3385796" y="10274656"/>
              <a:ext cx="3048017" cy="1391739"/>
            </a:xfrm>
            <a:custGeom>
              <a:avLst/>
              <a:gdLst>
                <a:gd name="connsiteX0" fmla="*/ 0 w 2460366"/>
                <a:gd name="connsiteY0" fmla="*/ 139174 h 1391739"/>
                <a:gd name="connsiteX1" fmla="*/ 139174 w 2460366"/>
                <a:gd name="connsiteY1" fmla="*/ 0 h 1391739"/>
                <a:gd name="connsiteX2" fmla="*/ 2321192 w 2460366"/>
                <a:gd name="connsiteY2" fmla="*/ 0 h 1391739"/>
                <a:gd name="connsiteX3" fmla="*/ 2460366 w 2460366"/>
                <a:gd name="connsiteY3" fmla="*/ 139174 h 1391739"/>
                <a:gd name="connsiteX4" fmla="*/ 2460366 w 2460366"/>
                <a:gd name="connsiteY4" fmla="*/ 1252565 h 1391739"/>
                <a:gd name="connsiteX5" fmla="*/ 2321192 w 2460366"/>
                <a:gd name="connsiteY5" fmla="*/ 1391739 h 1391739"/>
                <a:gd name="connsiteX6" fmla="*/ 139174 w 2460366"/>
                <a:gd name="connsiteY6" fmla="*/ 1391739 h 1391739"/>
                <a:gd name="connsiteX7" fmla="*/ 0 w 2460366"/>
                <a:gd name="connsiteY7" fmla="*/ 1252565 h 1391739"/>
                <a:gd name="connsiteX8" fmla="*/ 0 w 2460366"/>
                <a:gd name="connsiteY8" fmla="*/ 139174 h 139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60366" h="1391739">
                  <a:moveTo>
                    <a:pt x="0" y="139174"/>
                  </a:moveTo>
                  <a:cubicBezTo>
                    <a:pt x="0" y="62310"/>
                    <a:pt x="62310" y="0"/>
                    <a:pt x="139174" y="0"/>
                  </a:cubicBezTo>
                  <a:lnTo>
                    <a:pt x="2321192" y="0"/>
                  </a:lnTo>
                  <a:cubicBezTo>
                    <a:pt x="2398056" y="0"/>
                    <a:pt x="2460366" y="62310"/>
                    <a:pt x="2460366" y="139174"/>
                  </a:cubicBezTo>
                  <a:lnTo>
                    <a:pt x="2460366" y="1252565"/>
                  </a:lnTo>
                  <a:cubicBezTo>
                    <a:pt x="2460366" y="1329429"/>
                    <a:pt x="2398056" y="1391739"/>
                    <a:pt x="2321192" y="1391739"/>
                  </a:cubicBezTo>
                  <a:lnTo>
                    <a:pt x="139174" y="1391739"/>
                  </a:lnTo>
                  <a:cubicBezTo>
                    <a:pt x="62310" y="1391739"/>
                    <a:pt x="0" y="1329429"/>
                    <a:pt x="0" y="1252565"/>
                  </a:cubicBezTo>
                  <a:lnTo>
                    <a:pt x="0" y="139174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9813" tIns="53463" rIns="59813" bIns="53463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1. Inflamáveis: características, propriedades, perigos e riscos;</a:t>
              </a:r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5C71E125-6A09-6F90-BE30-DD96C940E8D5}"/>
                </a:ext>
              </a:extLst>
            </p:cNvPr>
            <p:cNvSpPr/>
            <p:nvPr/>
          </p:nvSpPr>
          <p:spPr>
            <a:xfrm>
              <a:off x="7881794" y="10289491"/>
              <a:ext cx="3063854" cy="1376904"/>
            </a:xfrm>
            <a:custGeom>
              <a:avLst/>
              <a:gdLst>
                <a:gd name="connsiteX0" fmla="*/ 0 w 2710004"/>
                <a:gd name="connsiteY0" fmla="*/ 157945 h 1579445"/>
                <a:gd name="connsiteX1" fmla="*/ 157945 w 2710004"/>
                <a:gd name="connsiteY1" fmla="*/ 0 h 1579445"/>
                <a:gd name="connsiteX2" fmla="*/ 2552060 w 2710004"/>
                <a:gd name="connsiteY2" fmla="*/ 0 h 1579445"/>
                <a:gd name="connsiteX3" fmla="*/ 2710005 w 2710004"/>
                <a:gd name="connsiteY3" fmla="*/ 157945 h 1579445"/>
                <a:gd name="connsiteX4" fmla="*/ 2710004 w 2710004"/>
                <a:gd name="connsiteY4" fmla="*/ 1421501 h 1579445"/>
                <a:gd name="connsiteX5" fmla="*/ 2552059 w 2710004"/>
                <a:gd name="connsiteY5" fmla="*/ 1579446 h 1579445"/>
                <a:gd name="connsiteX6" fmla="*/ 157945 w 2710004"/>
                <a:gd name="connsiteY6" fmla="*/ 1579445 h 1579445"/>
                <a:gd name="connsiteX7" fmla="*/ 0 w 2710004"/>
                <a:gd name="connsiteY7" fmla="*/ 1421500 h 1579445"/>
                <a:gd name="connsiteX8" fmla="*/ 0 w 2710004"/>
                <a:gd name="connsiteY8" fmla="*/ 157945 h 157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0004" h="1579445">
                  <a:moveTo>
                    <a:pt x="0" y="157945"/>
                  </a:moveTo>
                  <a:cubicBezTo>
                    <a:pt x="0" y="70714"/>
                    <a:pt x="70714" y="0"/>
                    <a:pt x="157945" y="0"/>
                  </a:cubicBezTo>
                  <a:lnTo>
                    <a:pt x="2552060" y="0"/>
                  </a:lnTo>
                  <a:cubicBezTo>
                    <a:pt x="2639291" y="0"/>
                    <a:pt x="2710005" y="70714"/>
                    <a:pt x="2710005" y="157945"/>
                  </a:cubicBezTo>
                  <a:cubicBezTo>
                    <a:pt x="2710005" y="579130"/>
                    <a:pt x="2710004" y="1000316"/>
                    <a:pt x="2710004" y="1421501"/>
                  </a:cubicBezTo>
                  <a:cubicBezTo>
                    <a:pt x="2710004" y="1508732"/>
                    <a:pt x="2639290" y="1579446"/>
                    <a:pt x="2552059" y="1579446"/>
                  </a:cubicBezTo>
                  <a:lnTo>
                    <a:pt x="157945" y="1579445"/>
                  </a:lnTo>
                  <a:cubicBezTo>
                    <a:pt x="70714" y="1579445"/>
                    <a:pt x="0" y="1508731"/>
                    <a:pt x="0" y="1421500"/>
                  </a:cubicBezTo>
                  <a:lnTo>
                    <a:pt x="0" y="157945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5310" tIns="58960" rIns="65310" bIns="5896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2. Controles coletivo e individual para trabalhos com inflamáveis; </a:t>
              </a:r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4D8371E6-26DC-F207-94AC-ADA6758D600E}"/>
                </a:ext>
              </a:extLst>
            </p:cNvPr>
            <p:cNvSpPr/>
            <p:nvPr/>
          </p:nvSpPr>
          <p:spPr>
            <a:xfrm>
              <a:off x="12509398" y="10271747"/>
              <a:ext cx="3079089" cy="1391740"/>
            </a:xfrm>
            <a:custGeom>
              <a:avLst/>
              <a:gdLst>
                <a:gd name="connsiteX0" fmla="*/ 0 w 2610000"/>
                <a:gd name="connsiteY0" fmla="*/ 140645 h 1406454"/>
                <a:gd name="connsiteX1" fmla="*/ 140645 w 2610000"/>
                <a:gd name="connsiteY1" fmla="*/ 0 h 1406454"/>
                <a:gd name="connsiteX2" fmla="*/ 2469355 w 2610000"/>
                <a:gd name="connsiteY2" fmla="*/ 0 h 1406454"/>
                <a:gd name="connsiteX3" fmla="*/ 2610000 w 2610000"/>
                <a:gd name="connsiteY3" fmla="*/ 140645 h 1406454"/>
                <a:gd name="connsiteX4" fmla="*/ 2610000 w 2610000"/>
                <a:gd name="connsiteY4" fmla="*/ 1265809 h 1406454"/>
                <a:gd name="connsiteX5" fmla="*/ 2469355 w 2610000"/>
                <a:gd name="connsiteY5" fmla="*/ 1406454 h 1406454"/>
                <a:gd name="connsiteX6" fmla="*/ 140645 w 2610000"/>
                <a:gd name="connsiteY6" fmla="*/ 1406454 h 1406454"/>
                <a:gd name="connsiteX7" fmla="*/ 0 w 2610000"/>
                <a:gd name="connsiteY7" fmla="*/ 1265809 h 1406454"/>
                <a:gd name="connsiteX8" fmla="*/ 0 w 2610000"/>
                <a:gd name="connsiteY8" fmla="*/ 140645 h 140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0000" h="1406454">
                  <a:moveTo>
                    <a:pt x="0" y="140645"/>
                  </a:moveTo>
                  <a:cubicBezTo>
                    <a:pt x="0" y="62969"/>
                    <a:pt x="62969" y="0"/>
                    <a:pt x="140645" y="0"/>
                  </a:cubicBezTo>
                  <a:lnTo>
                    <a:pt x="2469355" y="0"/>
                  </a:lnTo>
                  <a:cubicBezTo>
                    <a:pt x="2547031" y="0"/>
                    <a:pt x="2610000" y="62969"/>
                    <a:pt x="2610000" y="140645"/>
                  </a:cubicBezTo>
                  <a:lnTo>
                    <a:pt x="2610000" y="1265809"/>
                  </a:lnTo>
                  <a:cubicBezTo>
                    <a:pt x="2610000" y="1343485"/>
                    <a:pt x="2547031" y="1406454"/>
                    <a:pt x="2469355" y="1406454"/>
                  </a:cubicBezTo>
                  <a:lnTo>
                    <a:pt x="140645" y="1406454"/>
                  </a:lnTo>
                  <a:cubicBezTo>
                    <a:pt x="62969" y="1406454"/>
                    <a:pt x="0" y="1343485"/>
                    <a:pt x="0" y="1265809"/>
                  </a:cubicBezTo>
                  <a:lnTo>
                    <a:pt x="0" y="140645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244" tIns="53894" rIns="60244" bIns="53894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3. Fontes de ignição e seu controle;</a:t>
              </a:r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AEE3611F-6A42-5BBF-4840-E18DD5B828CB}"/>
                </a:ext>
              </a:extLst>
            </p:cNvPr>
            <p:cNvSpPr/>
            <p:nvPr/>
          </p:nvSpPr>
          <p:spPr>
            <a:xfrm>
              <a:off x="17344578" y="10274656"/>
              <a:ext cx="3068433" cy="1376904"/>
            </a:xfrm>
            <a:custGeom>
              <a:avLst/>
              <a:gdLst>
                <a:gd name="connsiteX0" fmla="*/ 0 w 2936133"/>
                <a:gd name="connsiteY0" fmla="*/ 123293 h 1232929"/>
                <a:gd name="connsiteX1" fmla="*/ 123293 w 2936133"/>
                <a:gd name="connsiteY1" fmla="*/ 0 h 1232929"/>
                <a:gd name="connsiteX2" fmla="*/ 2812840 w 2936133"/>
                <a:gd name="connsiteY2" fmla="*/ 0 h 1232929"/>
                <a:gd name="connsiteX3" fmla="*/ 2936133 w 2936133"/>
                <a:gd name="connsiteY3" fmla="*/ 123293 h 1232929"/>
                <a:gd name="connsiteX4" fmla="*/ 2936133 w 2936133"/>
                <a:gd name="connsiteY4" fmla="*/ 1109636 h 1232929"/>
                <a:gd name="connsiteX5" fmla="*/ 2812840 w 2936133"/>
                <a:gd name="connsiteY5" fmla="*/ 1232929 h 1232929"/>
                <a:gd name="connsiteX6" fmla="*/ 123293 w 2936133"/>
                <a:gd name="connsiteY6" fmla="*/ 1232929 h 1232929"/>
                <a:gd name="connsiteX7" fmla="*/ 0 w 2936133"/>
                <a:gd name="connsiteY7" fmla="*/ 1109636 h 1232929"/>
                <a:gd name="connsiteX8" fmla="*/ 0 w 2936133"/>
                <a:gd name="connsiteY8" fmla="*/ 123293 h 123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6133" h="1232929">
                  <a:moveTo>
                    <a:pt x="0" y="123293"/>
                  </a:moveTo>
                  <a:cubicBezTo>
                    <a:pt x="0" y="55200"/>
                    <a:pt x="55200" y="0"/>
                    <a:pt x="123293" y="0"/>
                  </a:cubicBezTo>
                  <a:lnTo>
                    <a:pt x="2812840" y="0"/>
                  </a:lnTo>
                  <a:cubicBezTo>
                    <a:pt x="2880933" y="0"/>
                    <a:pt x="2936133" y="55200"/>
                    <a:pt x="2936133" y="123293"/>
                  </a:cubicBezTo>
                  <a:lnTo>
                    <a:pt x="2936133" y="1109636"/>
                  </a:lnTo>
                  <a:cubicBezTo>
                    <a:pt x="2936133" y="1177729"/>
                    <a:pt x="2880933" y="1232929"/>
                    <a:pt x="2812840" y="1232929"/>
                  </a:cubicBezTo>
                  <a:lnTo>
                    <a:pt x="123293" y="1232929"/>
                  </a:lnTo>
                  <a:cubicBezTo>
                    <a:pt x="55200" y="1232929"/>
                    <a:pt x="0" y="1177729"/>
                    <a:pt x="0" y="1109636"/>
                  </a:cubicBezTo>
                  <a:lnTo>
                    <a:pt x="0" y="123293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5161" tIns="48811" rIns="55161" bIns="48811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4. Proteção contra incêndio com inflamáveis; </a:t>
              </a:r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7B8FA214-7A97-4620-9FCF-BFBEF7262DF1}"/>
                </a:ext>
              </a:extLst>
            </p:cNvPr>
            <p:cNvSpPr/>
            <p:nvPr/>
          </p:nvSpPr>
          <p:spPr>
            <a:xfrm>
              <a:off x="5196827" y="11922182"/>
              <a:ext cx="3061677" cy="1391739"/>
            </a:xfrm>
            <a:custGeom>
              <a:avLst/>
              <a:gdLst>
                <a:gd name="connsiteX0" fmla="*/ 0 w 2900464"/>
                <a:gd name="connsiteY0" fmla="*/ 140939 h 1409391"/>
                <a:gd name="connsiteX1" fmla="*/ 140939 w 2900464"/>
                <a:gd name="connsiteY1" fmla="*/ 0 h 1409391"/>
                <a:gd name="connsiteX2" fmla="*/ 2759525 w 2900464"/>
                <a:gd name="connsiteY2" fmla="*/ 0 h 1409391"/>
                <a:gd name="connsiteX3" fmla="*/ 2900464 w 2900464"/>
                <a:gd name="connsiteY3" fmla="*/ 140939 h 1409391"/>
                <a:gd name="connsiteX4" fmla="*/ 2900464 w 2900464"/>
                <a:gd name="connsiteY4" fmla="*/ 1268452 h 1409391"/>
                <a:gd name="connsiteX5" fmla="*/ 2759525 w 2900464"/>
                <a:gd name="connsiteY5" fmla="*/ 1409391 h 1409391"/>
                <a:gd name="connsiteX6" fmla="*/ 140939 w 2900464"/>
                <a:gd name="connsiteY6" fmla="*/ 1409391 h 1409391"/>
                <a:gd name="connsiteX7" fmla="*/ 0 w 2900464"/>
                <a:gd name="connsiteY7" fmla="*/ 1268452 h 1409391"/>
                <a:gd name="connsiteX8" fmla="*/ 0 w 2900464"/>
                <a:gd name="connsiteY8" fmla="*/ 140939 h 140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0464" h="1409391">
                  <a:moveTo>
                    <a:pt x="0" y="140939"/>
                  </a:moveTo>
                  <a:cubicBezTo>
                    <a:pt x="0" y="63101"/>
                    <a:pt x="63101" y="0"/>
                    <a:pt x="140939" y="0"/>
                  </a:cubicBezTo>
                  <a:lnTo>
                    <a:pt x="2759525" y="0"/>
                  </a:lnTo>
                  <a:cubicBezTo>
                    <a:pt x="2837363" y="0"/>
                    <a:pt x="2900464" y="63101"/>
                    <a:pt x="2900464" y="140939"/>
                  </a:cubicBezTo>
                  <a:lnTo>
                    <a:pt x="2900464" y="1268452"/>
                  </a:lnTo>
                  <a:cubicBezTo>
                    <a:pt x="2900464" y="1346290"/>
                    <a:pt x="2837363" y="1409391"/>
                    <a:pt x="2759525" y="1409391"/>
                  </a:cubicBezTo>
                  <a:lnTo>
                    <a:pt x="140939" y="1409391"/>
                  </a:lnTo>
                  <a:cubicBezTo>
                    <a:pt x="63101" y="1409391"/>
                    <a:pt x="0" y="1346290"/>
                    <a:pt x="0" y="1268452"/>
                  </a:cubicBezTo>
                  <a:lnTo>
                    <a:pt x="0" y="140939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330" tIns="53980" rIns="60330" bIns="5398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5. Procedimentos em situações de emergência com inflamáveis; </a:t>
              </a:r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8F7FA4CF-4181-E0B2-CD71-AA630D5A3F19}"/>
                </a:ext>
              </a:extLst>
            </p:cNvPr>
            <p:cNvSpPr/>
            <p:nvPr/>
          </p:nvSpPr>
          <p:spPr>
            <a:xfrm>
              <a:off x="9998671" y="11935894"/>
              <a:ext cx="3072970" cy="1391739"/>
            </a:xfrm>
            <a:custGeom>
              <a:avLst/>
              <a:gdLst>
                <a:gd name="connsiteX0" fmla="*/ 0 w 2626537"/>
                <a:gd name="connsiteY0" fmla="*/ 149723 h 1497229"/>
                <a:gd name="connsiteX1" fmla="*/ 149723 w 2626537"/>
                <a:gd name="connsiteY1" fmla="*/ 0 h 1497229"/>
                <a:gd name="connsiteX2" fmla="*/ 2476814 w 2626537"/>
                <a:gd name="connsiteY2" fmla="*/ 0 h 1497229"/>
                <a:gd name="connsiteX3" fmla="*/ 2626537 w 2626537"/>
                <a:gd name="connsiteY3" fmla="*/ 149723 h 1497229"/>
                <a:gd name="connsiteX4" fmla="*/ 2626537 w 2626537"/>
                <a:gd name="connsiteY4" fmla="*/ 1347506 h 1497229"/>
                <a:gd name="connsiteX5" fmla="*/ 2476814 w 2626537"/>
                <a:gd name="connsiteY5" fmla="*/ 1497229 h 1497229"/>
                <a:gd name="connsiteX6" fmla="*/ 149723 w 2626537"/>
                <a:gd name="connsiteY6" fmla="*/ 1497229 h 1497229"/>
                <a:gd name="connsiteX7" fmla="*/ 0 w 2626537"/>
                <a:gd name="connsiteY7" fmla="*/ 1347506 h 1497229"/>
                <a:gd name="connsiteX8" fmla="*/ 0 w 2626537"/>
                <a:gd name="connsiteY8" fmla="*/ 149723 h 149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6537" h="1497229">
                  <a:moveTo>
                    <a:pt x="0" y="149723"/>
                  </a:moveTo>
                  <a:cubicBezTo>
                    <a:pt x="0" y="67033"/>
                    <a:pt x="67033" y="0"/>
                    <a:pt x="149723" y="0"/>
                  </a:cubicBezTo>
                  <a:lnTo>
                    <a:pt x="2476814" y="0"/>
                  </a:lnTo>
                  <a:cubicBezTo>
                    <a:pt x="2559504" y="0"/>
                    <a:pt x="2626537" y="67033"/>
                    <a:pt x="2626537" y="149723"/>
                  </a:cubicBezTo>
                  <a:lnTo>
                    <a:pt x="2626537" y="1347506"/>
                  </a:lnTo>
                  <a:cubicBezTo>
                    <a:pt x="2626537" y="1430196"/>
                    <a:pt x="2559504" y="1497229"/>
                    <a:pt x="2476814" y="1497229"/>
                  </a:cubicBezTo>
                  <a:lnTo>
                    <a:pt x="149723" y="1497229"/>
                  </a:lnTo>
                  <a:cubicBezTo>
                    <a:pt x="67033" y="1497229"/>
                    <a:pt x="0" y="1430196"/>
                    <a:pt x="0" y="1347506"/>
                  </a:cubicBezTo>
                  <a:lnTo>
                    <a:pt x="0" y="149723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02" tIns="56552" rIns="62902" bIns="56552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6. Estudo da Norma Regulamentadora n.º 20; </a:t>
              </a:r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E177C843-B74E-FC3F-5C1B-AACF8960EA50}"/>
                </a:ext>
              </a:extLst>
            </p:cNvPr>
            <p:cNvSpPr/>
            <p:nvPr/>
          </p:nvSpPr>
          <p:spPr>
            <a:xfrm>
              <a:off x="14568813" y="12052566"/>
              <a:ext cx="3375795" cy="1272809"/>
            </a:xfrm>
            <a:custGeom>
              <a:avLst/>
              <a:gdLst>
                <a:gd name="connsiteX0" fmla="*/ 0 w 2743553"/>
                <a:gd name="connsiteY0" fmla="*/ 127281 h 1272809"/>
                <a:gd name="connsiteX1" fmla="*/ 127281 w 2743553"/>
                <a:gd name="connsiteY1" fmla="*/ 0 h 1272809"/>
                <a:gd name="connsiteX2" fmla="*/ 2616272 w 2743553"/>
                <a:gd name="connsiteY2" fmla="*/ 0 h 1272809"/>
                <a:gd name="connsiteX3" fmla="*/ 2743553 w 2743553"/>
                <a:gd name="connsiteY3" fmla="*/ 127281 h 1272809"/>
                <a:gd name="connsiteX4" fmla="*/ 2743553 w 2743553"/>
                <a:gd name="connsiteY4" fmla="*/ 1145528 h 1272809"/>
                <a:gd name="connsiteX5" fmla="*/ 2616272 w 2743553"/>
                <a:gd name="connsiteY5" fmla="*/ 1272809 h 1272809"/>
                <a:gd name="connsiteX6" fmla="*/ 127281 w 2743553"/>
                <a:gd name="connsiteY6" fmla="*/ 1272809 h 1272809"/>
                <a:gd name="connsiteX7" fmla="*/ 0 w 2743553"/>
                <a:gd name="connsiteY7" fmla="*/ 1145528 h 1272809"/>
                <a:gd name="connsiteX8" fmla="*/ 0 w 2743553"/>
                <a:gd name="connsiteY8" fmla="*/ 127281 h 127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3553" h="1272809">
                  <a:moveTo>
                    <a:pt x="0" y="127281"/>
                  </a:moveTo>
                  <a:cubicBezTo>
                    <a:pt x="0" y="56986"/>
                    <a:pt x="56986" y="0"/>
                    <a:pt x="127281" y="0"/>
                  </a:cubicBezTo>
                  <a:lnTo>
                    <a:pt x="2616272" y="0"/>
                  </a:lnTo>
                  <a:cubicBezTo>
                    <a:pt x="2686567" y="0"/>
                    <a:pt x="2743553" y="56986"/>
                    <a:pt x="2743553" y="127281"/>
                  </a:cubicBezTo>
                  <a:lnTo>
                    <a:pt x="2743553" y="1145528"/>
                  </a:lnTo>
                  <a:cubicBezTo>
                    <a:pt x="2743553" y="1215823"/>
                    <a:pt x="2686567" y="1272809"/>
                    <a:pt x="2616272" y="1272809"/>
                  </a:cubicBezTo>
                  <a:lnTo>
                    <a:pt x="127281" y="1272809"/>
                  </a:lnTo>
                  <a:cubicBezTo>
                    <a:pt x="56986" y="1272809"/>
                    <a:pt x="0" y="1215823"/>
                    <a:pt x="0" y="1145528"/>
                  </a:cubicBezTo>
                  <a:lnTo>
                    <a:pt x="0" y="127281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6329" tIns="49979" rIns="56329" bIns="49979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7. Análise Preliminar de Perigos/Riscos: conceitos e exercícios práticos; </a:t>
              </a: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FCF92D1D-0425-7274-F17E-859CF9612611}"/>
                </a:ext>
              </a:extLst>
            </p:cNvPr>
            <p:cNvSpPr/>
            <p:nvPr/>
          </p:nvSpPr>
          <p:spPr>
            <a:xfrm>
              <a:off x="19485199" y="12101048"/>
              <a:ext cx="2671657" cy="1136814"/>
            </a:xfrm>
            <a:custGeom>
              <a:avLst/>
              <a:gdLst>
                <a:gd name="connsiteX0" fmla="*/ 0 w 2484837"/>
                <a:gd name="connsiteY0" fmla="*/ 113681 h 1136814"/>
                <a:gd name="connsiteX1" fmla="*/ 113681 w 2484837"/>
                <a:gd name="connsiteY1" fmla="*/ 0 h 1136814"/>
                <a:gd name="connsiteX2" fmla="*/ 2371156 w 2484837"/>
                <a:gd name="connsiteY2" fmla="*/ 0 h 1136814"/>
                <a:gd name="connsiteX3" fmla="*/ 2484837 w 2484837"/>
                <a:gd name="connsiteY3" fmla="*/ 113681 h 1136814"/>
                <a:gd name="connsiteX4" fmla="*/ 2484837 w 2484837"/>
                <a:gd name="connsiteY4" fmla="*/ 1023133 h 1136814"/>
                <a:gd name="connsiteX5" fmla="*/ 2371156 w 2484837"/>
                <a:gd name="connsiteY5" fmla="*/ 1136814 h 1136814"/>
                <a:gd name="connsiteX6" fmla="*/ 113681 w 2484837"/>
                <a:gd name="connsiteY6" fmla="*/ 1136814 h 1136814"/>
                <a:gd name="connsiteX7" fmla="*/ 0 w 2484837"/>
                <a:gd name="connsiteY7" fmla="*/ 1023133 h 1136814"/>
                <a:gd name="connsiteX8" fmla="*/ 0 w 2484837"/>
                <a:gd name="connsiteY8" fmla="*/ 113681 h 1136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4837" h="1136814">
                  <a:moveTo>
                    <a:pt x="0" y="113681"/>
                  </a:moveTo>
                  <a:cubicBezTo>
                    <a:pt x="0" y="50897"/>
                    <a:pt x="50897" y="0"/>
                    <a:pt x="113681" y="0"/>
                  </a:cubicBezTo>
                  <a:lnTo>
                    <a:pt x="2371156" y="0"/>
                  </a:lnTo>
                  <a:cubicBezTo>
                    <a:pt x="2433940" y="0"/>
                    <a:pt x="2484837" y="50897"/>
                    <a:pt x="2484837" y="113681"/>
                  </a:cubicBezTo>
                  <a:lnTo>
                    <a:pt x="2484837" y="1023133"/>
                  </a:lnTo>
                  <a:cubicBezTo>
                    <a:pt x="2484837" y="1085917"/>
                    <a:pt x="2433940" y="1136814"/>
                    <a:pt x="2371156" y="1136814"/>
                  </a:cubicBezTo>
                  <a:lnTo>
                    <a:pt x="113681" y="1136814"/>
                  </a:lnTo>
                  <a:cubicBezTo>
                    <a:pt x="50897" y="1136814"/>
                    <a:pt x="0" y="1085917"/>
                    <a:pt x="0" y="1023133"/>
                  </a:cubicBezTo>
                  <a:lnTo>
                    <a:pt x="0" y="113681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2346" tIns="45996" rIns="52346" bIns="45996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BR" sz="2200" kern="1200">
                  <a:solidFill>
                    <a:srgbClr val="01436C"/>
                  </a:solidFill>
                  <a:latin typeface="Montserrat" pitchFamily="2" charset="0"/>
                </a:rPr>
                <a:t>8. Permissão para Trabalho com Inflamáveis.</a:t>
              </a:r>
            </a:p>
          </p:txBody>
        </p:sp>
      </p:grpSp>
      <p:sp>
        <p:nvSpPr>
          <p:cNvPr id="33" name="Seta: da Esquerda para a Direita 32">
            <a:extLst>
              <a:ext uri="{FF2B5EF4-FFF2-40B4-BE49-F238E27FC236}">
                <a16:creationId xmlns:a16="http://schemas.microsoft.com/office/drawing/2014/main" id="{6FCCF257-D47F-2968-054A-E79D48E9731D}"/>
              </a:ext>
            </a:extLst>
          </p:cNvPr>
          <p:cNvSpPr/>
          <p:nvPr/>
        </p:nvSpPr>
        <p:spPr>
          <a:xfrm>
            <a:off x="4233083" y="5685690"/>
            <a:ext cx="671629" cy="29932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4" name="Seta: da Esquerda para a Direita 33">
            <a:extLst>
              <a:ext uri="{FF2B5EF4-FFF2-40B4-BE49-F238E27FC236}">
                <a16:creationId xmlns:a16="http://schemas.microsoft.com/office/drawing/2014/main" id="{BC165776-A013-2B92-F6E4-A9AF9F55A4AF}"/>
              </a:ext>
            </a:extLst>
          </p:cNvPr>
          <p:cNvSpPr/>
          <p:nvPr/>
        </p:nvSpPr>
        <p:spPr>
          <a:xfrm>
            <a:off x="9216243" y="5684003"/>
            <a:ext cx="671629" cy="29932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5" name="Seta: da Esquerda para a Direita 34">
            <a:extLst>
              <a:ext uri="{FF2B5EF4-FFF2-40B4-BE49-F238E27FC236}">
                <a16:creationId xmlns:a16="http://schemas.microsoft.com/office/drawing/2014/main" id="{AF623773-E19A-1435-97B4-953DCFD9247A}"/>
              </a:ext>
            </a:extLst>
          </p:cNvPr>
          <p:cNvSpPr/>
          <p:nvPr/>
        </p:nvSpPr>
        <p:spPr>
          <a:xfrm>
            <a:off x="14029586" y="5684003"/>
            <a:ext cx="671629" cy="299326"/>
          </a:xfrm>
          <a:prstGeom prst="left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0" name="Seta: Curva para a Esquerda 39">
            <a:extLst>
              <a:ext uri="{FF2B5EF4-FFF2-40B4-BE49-F238E27FC236}">
                <a16:creationId xmlns:a16="http://schemas.microsoft.com/office/drawing/2014/main" id="{2B2EA595-B3F0-04D9-32B2-FCBD322B66ED}"/>
              </a:ext>
            </a:extLst>
          </p:cNvPr>
          <p:cNvSpPr/>
          <p:nvPr/>
        </p:nvSpPr>
        <p:spPr>
          <a:xfrm>
            <a:off x="22492205" y="10131421"/>
            <a:ext cx="858192" cy="889644"/>
          </a:xfrm>
          <a:prstGeom prst="curvedLef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1" name="Seta: Curva para a Direita 40">
            <a:extLst>
              <a:ext uri="{FF2B5EF4-FFF2-40B4-BE49-F238E27FC236}">
                <a16:creationId xmlns:a16="http://schemas.microsoft.com/office/drawing/2014/main" id="{23C9E124-8960-D52A-C876-7809E067FF9C}"/>
              </a:ext>
            </a:extLst>
          </p:cNvPr>
          <p:cNvSpPr/>
          <p:nvPr/>
        </p:nvSpPr>
        <p:spPr>
          <a:xfrm>
            <a:off x="1120124" y="11555398"/>
            <a:ext cx="1194007" cy="820880"/>
          </a:xfrm>
          <a:prstGeom prst="curved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2" name="Seta: da Esquerda para a Direita 41">
            <a:extLst>
              <a:ext uri="{FF2B5EF4-FFF2-40B4-BE49-F238E27FC236}">
                <a16:creationId xmlns:a16="http://schemas.microsoft.com/office/drawing/2014/main" id="{B7FBF1AD-5D3E-F3A9-1B56-A5A5148079D9}"/>
              </a:ext>
            </a:extLst>
          </p:cNvPr>
          <p:cNvSpPr/>
          <p:nvPr/>
        </p:nvSpPr>
        <p:spPr>
          <a:xfrm>
            <a:off x="6933233" y="11916923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3" name="Seta: da Esquerda para a Direita 42">
            <a:extLst>
              <a:ext uri="{FF2B5EF4-FFF2-40B4-BE49-F238E27FC236}">
                <a16:creationId xmlns:a16="http://schemas.microsoft.com/office/drawing/2014/main" id="{1B470720-6D9D-6E1A-9FEF-41AEADB1907F}"/>
              </a:ext>
            </a:extLst>
          </p:cNvPr>
          <p:cNvSpPr/>
          <p:nvPr/>
        </p:nvSpPr>
        <p:spPr>
          <a:xfrm>
            <a:off x="12816921" y="11981149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4" name="Seta: da Esquerda para a Direita 43">
            <a:extLst>
              <a:ext uri="{FF2B5EF4-FFF2-40B4-BE49-F238E27FC236}">
                <a16:creationId xmlns:a16="http://schemas.microsoft.com/office/drawing/2014/main" id="{05FF973C-C2C3-67FD-F4B2-4ACFD9B6A41E}"/>
              </a:ext>
            </a:extLst>
          </p:cNvPr>
          <p:cNvSpPr/>
          <p:nvPr/>
        </p:nvSpPr>
        <p:spPr>
          <a:xfrm>
            <a:off x="18960636" y="11963599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81669EC-4AB9-E8C1-B260-DBB408B265A5}"/>
              </a:ext>
            </a:extLst>
          </p:cNvPr>
          <p:cNvSpPr txBox="1"/>
          <p:nvPr/>
        </p:nvSpPr>
        <p:spPr>
          <a:xfrm>
            <a:off x="6096138" y="1348187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de Iniciação sobre Inflamáveis e Combustíveis Carga horária: 3 horas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4EAB06C1-26CF-ACA7-5A7A-36BA94B991EB}"/>
              </a:ext>
            </a:extLst>
          </p:cNvPr>
          <p:cNvSpPr/>
          <p:nvPr/>
        </p:nvSpPr>
        <p:spPr>
          <a:xfrm>
            <a:off x="6275042" y="4020437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0072BB6E-234E-FAE5-36CB-579B26E8B17C}"/>
              </a:ext>
            </a:extLst>
          </p:cNvPr>
          <p:cNvSpPr txBox="1"/>
          <p:nvPr/>
        </p:nvSpPr>
        <p:spPr>
          <a:xfrm>
            <a:off x="6096138" y="4093882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Básico Conteúdo programático teórico:</a:t>
            </a:r>
          </a:p>
        </p:txBody>
      </p:sp>
      <p:sp>
        <p:nvSpPr>
          <p:cNvPr id="11" name="Seta: da Esquerda para a Direita 10">
            <a:extLst>
              <a:ext uri="{FF2B5EF4-FFF2-40B4-BE49-F238E27FC236}">
                <a16:creationId xmlns:a16="http://schemas.microsoft.com/office/drawing/2014/main" id="{68A85828-12B0-3F64-4D04-B6F0E5D2AD88}"/>
              </a:ext>
            </a:extLst>
          </p:cNvPr>
          <p:cNvSpPr/>
          <p:nvPr/>
        </p:nvSpPr>
        <p:spPr>
          <a:xfrm>
            <a:off x="19063247" y="5703711"/>
            <a:ext cx="671629" cy="299326"/>
          </a:xfrm>
          <a:prstGeom prst="left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447F6202-00E9-7D09-1AFF-4DB312EEBB8A}"/>
              </a:ext>
            </a:extLst>
          </p:cNvPr>
          <p:cNvSpPr/>
          <p:nvPr/>
        </p:nvSpPr>
        <p:spPr>
          <a:xfrm>
            <a:off x="6196560" y="8358978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3089632-AA00-C216-A54D-6C8F59D37234}"/>
              </a:ext>
            </a:extLst>
          </p:cNvPr>
          <p:cNvSpPr txBox="1"/>
          <p:nvPr/>
        </p:nvSpPr>
        <p:spPr>
          <a:xfrm>
            <a:off x="2571799" y="7228341"/>
            <a:ext cx="1923758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200" b="1">
                <a:solidFill>
                  <a:schemeClr val="bg1"/>
                </a:solidFill>
                <a:latin typeface="Montserrat" pitchFamily="2" charset="0"/>
              </a:rPr>
              <a:t>Conteúdo programático prático: Conhecimentos e utilização dos sistemas de segurança contra incêndio com inflamávei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A6F04B0-2A62-C0BC-5A9D-830016118C9F}"/>
              </a:ext>
            </a:extLst>
          </p:cNvPr>
          <p:cNvSpPr txBox="1"/>
          <p:nvPr/>
        </p:nvSpPr>
        <p:spPr>
          <a:xfrm>
            <a:off x="6017656" y="8432423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Intermediário Conteúdo programático teórico:</a:t>
            </a:r>
          </a:p>
        </p:txBody>
      </p:sp>
      <p:sp>
        <p:nvSpPr>
          <p:cNvPr id="30" name="Seta: da Esquerda para a Direita 29">
            <a:extLst>
              <a:ext uri="{FF2B5EF4-FFF2-40B4-BE49-F238E27FC236}">
                <a16:creationId xmlns:a16="http://schemas.microsoft.com/office/drawing/2014/main" id="{A821088A-DAED-CCD9-D144-339D81F5A348}"/>
              </a:ext>
            </a:extLst>
          </p:cNvPr>
          <p:cNvSpPr/>
          <p:nvPr/>
        </p:nvSpPr>
        <p:spPr>
          <a:xfrm>
            <a:off x="4481390" y="10139100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1" name="Seta: da Esquerda para a Direita 30">
            <a:extLst>
              <a:ext uri="{FF2B5EF4-FFF2-40B4-BE49-F238E27FC236}">
                <a16:creationId xmlns:a16="http://schemas.microsoft.com/office/drawing/2014/main" id="{6F8BA92C-D1C4-9915-A2E8-9F49009A2EE0}"/>
              </a:ext>
            </a:extLst>
          </p:cNvPr>
          <p:cNvSpPr/>
          <p:nvPr/>
        </p:nvSpPr>
        <p:spPr>
          <a:xfrm>
            <a:off x="10188690" y="10068507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sp>
        <p:nvSpPr>
          <p:cNvPr id="32" name="Seta: da Esquerda para a Direita 31">
            <a:extLst>
              <a:ext uri="{FF2B5EF4-FFF2-40B4-BE49-F238E27FC236}">
                <a16:creationId xmlns:a16="http://schemas.microsoft.com/office/drawing/2014/main" id="{41B2D8B0-FD16-57AD-2E14-BBD8B0307CB3}"/>
              </a:ext>
            </a:extLst>
          </p:cNvPr>
          <p:cNvSpPr/>
          <p:nvPr/>
        </p:nvSpPr>
        <p:spPr>
          <a:xfrm>
            <a:off x="16128783" y="10071989"/>
            <a:ext cx="1548479" cy="454296"/>
          </a:xfrm>
          <a:prstGeom prst="leftRightArrow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>
              <a:solidFill>
                <a:srgbClr val="01436C"/>
              </a:solidFill>
              <a:latin typeface="Montserrat" pitchFamily="2" charset="0"/>
            </a:endParaRP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DB870A92-664A-3735-EDC0-F841793D197C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192" y="862611"/>
            <a:ext cx="1598107" cy="539805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49FF8B4D-1434-FA2E-2A36-F13D0128224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2952032" y="842529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129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1092606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NPJ ou CEI / Razão Social​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Grau de Risco / CNAE 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ata de elaboração​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scrição das atividades de acordo com o CBO / EPIs listados por atividades ou não aplicabilidade;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 Grupo Homogêneo de Exposição (GHE) é o agrupamento dos trabalhadores em uma empresa que têm perfis de exposição similare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nventário de Riscos e Plano de açã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ssinatura do responsável técnico ou engenheiro de segurança do trabalho, e seus dados de identificação (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Ex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: Conselho de classe)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recisa ter os dados da contratante, (unidade da prestação de serviço) para os contratos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ontínuos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, para os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eventuais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seguir documento matriz do forneced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RT - Anotação de responsabilidade técnica necessita está com a mesma data de válida do PGR, caso tenha atualizações do PGR a ART também deverá ser atualizada. 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GR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3969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m 34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932DAED9-6085-06BE-9C9F-95607E5BF1E6}"/>
              </a:ext>
            </a:extLst>
          </p:cNvPr>
          <p:cNvGrpSpPr/>
          <p:nvPr/>
        </p:nvGrpSpPr>
        <p:grpSpPr>
          <a:xfrm>
            <a:off x="207552" y="1273642"/>
            <a:ext cx="23690475" cy="5254954"/>
            <a:chOff x="207552" y="1611578"/>
            <a:chExt cx="23690475" cy="5254954"/>
          </a:xfrm>
          <a:solidFill>
            <a:schemeClr val="bg1"/>
          </a:solidFill>
        </p:grpSpPr>
        <p:sp>
          <p:nvSpPr>
            <p:cNvPr id="11" name="Retângulo: Cantos Arredondados 10">
              <a:extLst>
                <a:ext uri="{FF2B5EF4-FFF2-40B4-BE49-F238E27FC236}">
                  <a16:creationId xmlns:a16="http://schemas.microsoft.com/office/drawing/2014/main" id="{BE8B066A-FC78-3F70-DD27-BC736389C92D}"/>
                </a:ext>
              </a:extLst>
            </p:cNvPr>
            <p:cNvSpPr/>
            <p:nvPr/>
          </p:nvSpPr>
          <p:spPr>
            <a:xfrm>
              <a:off x="207552" y="1614243"/>
              <a:ext cx="4498516" cy="2523937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. Inflamáveis: características, propriedades, perigos e riscos;</a:t>
              </a:r>
            </a:p>
          </p:txBody>
        </p:sp>
        <p:sp>
          <p:nvSpPr>
            <p:cNvPr id="12" name="Retângulo: Cantos Arredondados 11">
              <a:extLst>
                <a:ext uri="{FF2B5EF4-FFF2-40B4-BE49-F238E27FC236}">
                  <a16:creationId xmlns:a16="http://schemas.microsoft.com/office/drawing/2014/main" id="{14D0526F-2A40-D886-6A72-8E31D9285202}"/>
                </a:ext>
              </a:extLst>
            </p:cNvPr>
            <p:cNvSpPr/>
            <p:nvPr/>
          </p:nvSpPr>
          <p:spPr>
            <a:xfrm>
              <a:off x="4968040" y="1614242"/>
              <a:ext cx="4570809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2. Controles coletivo e individual para trabalhos com inflamáveis;</a:t>
              </a:r>
            </a:p>
          </p:txBody>
        </p:sp>
        <p:sp>
          <p:nvSpPr>
            <p:cNvPr id="13" name="Retângulo: Cantos Arredondados 12">
              <a:extLst>
                <a:ext uri="{FF2B5EF4-FFF2-40B4-BE49-F238E27FC236}">
                  <a16:creationId xmlns:a16="http://schemas.microsoft.com/office/drawing/2014/main" id="{AE570EFB-FEC7-766E-DC1C-A881EEAD62F3}"/>
                </a:ext>
              </a:extLst>
            </p:cNvPr>
            <p:cNvSpPr/>
            <p:nvPr/>
          </p:nvSpPr>
          <p:spPr>
            <a:xfrm>
              <a:off x="9854840" y="1611578"/>
              <a:ext cx="4371803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3. Fontes de ignição e seu controle; </a:t>
              </a:r>
            </a:p>
          </p:txBody>
        </p:sp>
        <p:sp>
          <p:nvSpPr>
            <p:cNvPr id="14" name="Retângulo: Cantos Arredondados 13">
              <a:extLst>
                <a:ext uri="{FF2B5EF4-FFF2-40B4-BE49-F238E27FC236}">
                  <a16:creationId xmlns:a16="http://schemas.microsoft.com/office/drawing/2014/main" id="{8AE3EA88-82D2-67D6-C163-0CBC676B0087}"/>
                </a:ext>
              </a:extLst>
            </p:cNvPr>
            <p:cNvSpPr/>
            <p:nvPr/>
          </p:nvSpPr>
          <p:spPr>
            <a:xfrm>
              <a:off x="14542632" y="1611578"/>
              <a:ext cx="4506290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4. Proteção contra incêndio com inflamáveis;</a:t>
              </a:r>
            </a:p>
          </p:txBody>
        </p:sp>
        <p:sp>
          <p:nvSpPr>
            <p:cNvPr id="15" name="Retângulo: Cantos Arredondados 14">
              <a:extLst>
                <a:ext uri="{FF2B5EF4-FFF2-40B4-BE49-F238E27FC236}">
                  <a16:creationId xmlns:a16="http://schemas.microsoft.com/office/drawing/2014/main" id="{03455695-D9EC-18EB-3A61-888D7563A1A2}"/>
                </a:ext>
              </a:extLst>
            </p:cNvPr>
            <p:cNvSpPr/>
            <p:nvPr/>
          </p:nvSpPr>
          <p:spPr>
            <a:xfrm>
              <a:off x="19391737" y="1611579"/>
              <a:ext cx="4506290" cy="2617214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5.Procedimentos em emergências com inflamáveis</a:t>
              </a:r>
            </a:p>
          </p:txBody>
        </p:sp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195442CE-0A13-A85A-B62B-4C5938A3C451}"/>
                </a:ext>
              </a:extLst>
            </p:cNvPr>
            <p:cNvSpPr/>
            <p:nvPr/>
          </p:nvSpPr>
          <p:spPr>
            <a:xfrm>
              <a:off x="207552" y="4334065"/>
              <a:ext cx="4498516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6. Estudo da Norma Regulamentadora n.º 20;</a:t>
              </a:r>
            </a:p>
          </p:txBody>
        </p:sp>
        <p:sp>
          <p:nvSpPr>
            <p:cNvPr id="17" name="Retângulo: Cantos Arredondados 16">
              <a:extLst>
                <a:ext uri="{FF2B5EF4-FFF2-40B4-BE49-F238E27FC236}">
                  <a16:creationId xmlns:a16="http://schemas.microsoft.com/office/drawing/2014/main" id="{92C88E9B-03A4-914E-49E8-91F07E9915CC}"/>
                </a:ext>
              </a:extLst>
            </p:cNvPr>
            <p:cNvSpPr/>
            <p:nvPr/>
          </p:nvSpPr>
          <p:spPr>
            <a:xfrm>
              <a:off x="4968040" y="4341167"/>
              <a:ext cx="4570809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7. Metodologias de Análise de Riscos: conceitos e exercícios práticos</a:t>
              </a:r>
            </a:p>
          </p:txBody>
        </p:sp>
        <p:sp>
          <p:nvSpPr>
            <p:cNvPr id="18" name="Retângulo: Cantos Arredondados 17">
              <a:extLst>
                <a:ext uri="{FF2B5EF4-FFF2-40B4-BE49-F238E27FC236}">
                  <a16:creationId xmlns:a16="http://schemas.microsoft.com/office/drawing/2014/main" id="{08F4BEAE-399F-2066-D652-A0AB2CB61316}"/>
                </a:ext>
              </a:extLst>
            </p:cNvPr>
            <p:cNvSpPr/>
            <p:nvPr/>
          </p:nvSpPr>
          <p:spPr>
            <a:xfrm>
              <a:off x="9863786" y="4342597"/>
              <a:ext cx="4371803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8. Permissão para Trabalho com Inflamáveis</a:t>
              </a:r>
            </a:p>
          </p:txBody>
        </p:sp>
        <p:sp>
          <p:nvSpPr>
            <p:cNvPr id="19" name="Retângulo: Cantos Arredondados 18">
              <a:extLst>
                <a:ext uri="{FF2B5EF4-FFF2-40B4-BE49-F238E27FC236}">
                  <a16:creationId xmlns:a16="http://schemas.microsoft.com/office/drawing/2014/main" id="{608F1973-490B-01D1-6AD1-25E86166BCAE}"/>
                </a:ext>
              </a:extLst>
            </p:cNvPr>
            <p:cNvSpPr/>
            <p:nvPr/>
          </p:nvSpPr>
          <p:spPr>
            <a:xfrm>
              <a:off x="14560523" y="4324450"/>
              <a:ext cx="4506290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9. Acidentes com inflamáveis: análise de causas e medidas preventivas</a:t>
              </a:r>
            </a:p>
          </p:txBody>
        </p:sp>
        <p:sp>
          <p:nvSpPr>
            <p:cNvPr id="20" name="Retângulo: Cantos Arredondados 19">
              <a:extLst>
                <a:ext uri="{FF2B5EF4-FFF2-40B4-BE49-F238E27FC236}">
                  <a16:creationId xmlns:a16="http://schemas.microsoft.com/office/drawing/2014/main" id="{EA02ED01-2644-B71D-22C8-1CE16DAC13C6}"/>
                </a:ext>
              </a:extLst>
            </p:cNvPr>
            <p:cNvSpPr/>
            <p:nvPr/>
          </p:nvSpPr>
          <p:spPr>
            <a:xfrm>
              <a:off x="19391737" y="4341167"/>
              <a:ext cx="4498516" cy="2523935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0. Planejamento de Resposta a emergências com Inflamáveis</a:t>
              </a: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B0914378-2967-0DDC-D6A5-0DFF85CAE069}"/>
              </a:ext>
            </a:extLst>
          </p:cNvPr>
          <p:cNvGrpSpPr/>
          <p:nvPr/>
        </p:nvGrpSpPr>
        <p:grpSpPr>
          <a:xfrm>
            <a:off x="469524" y="7776552"/>
            <a:ext cx="22568728" cy="2329674"/>
            <a:chOff x="469524" y="8114488"/>
            <a:chExt cx="22568728" cy="2329674"/>
          </a:xfrm>
          <a:solidFill>
            <a:schemeClr val="bg1"/>
          </a:solidFill>
        </p:grpSpPr>
        <p:sp>
          <p:nvSpPr>
            <p:cNvPr id="26" name="Retângulo: Cantos Arredondados 25">
              <a:extLst>
                <a:ext uri="{FF2B5EF4-FFF2-40B4-BE49-F238E27FC236}">
                  <a16:creationId xmlns:a16="http://schemas.microsoft.com/office/drawing/2014/main" id="{1431D8D6-8DD9-40D6-9860-D5313C477C8F}"/>
                </a:ext>
              </a:extLst>
            </p:cNvPr>
            <p:cNvSpPr/>
            <p:nvPr/>
          </p:nvSpPr>
          <p:spPr>
            <a:xfrm>
              <a:off x="469524" y="8167639"/>
              <a:ext cx="4498516" cy="2276523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1. Noções básicas de segurança de processo da instalação</a:t>
              </a:r>
            </a:p>
          </p:txBody>
        </p:sp>
        <p:sp>
          <p:nvSpPr>
            <p:cNvPr id="27" name="Retângulo: Cantos Arredondados 26">
              <a:extLst>
                <a:ext uri="{FF2B5EF4-FFF2-40B4-BE49-F238E27FC236}">
                  <a16:creationId xmlns:a16="http://schemas.microsoft.com/office/drawing/2014/main" id="{E2DDA47D-1189-40AF-5D3F-CA58DC6B33BB}"/>
                </a:ext>
              </a:extLst>
            </p:cNvPr>
            <p:cNvSpPr/>
            <p:nvPr/>
          </p:nvSpPr>
          <p:spPr>
            <a:xfrm>
              <a:off x="6301185" y="8114488"/>
              <a:ext cx="4498516" cy="2194786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12. Noções básicas de gestão de mudanças.</a:t>
              </a:r>
            </a:p>
          </p:txBody>
        </p:sp>
        <p:sp>
          <p:nvSpPr>
            <p:cNvPr id="29" name="Retângulo: Cantos Arredondados 28">
              <a:extLst>
                <a:ext uri="{FF2B5EF4-FFF2-40B4-BE49-F238E27FC236}">
                  <a16:creationId xmlns:a16="http://schemas.microsoft.com/office/drawing/2014/main" id="{315D4730-E492-934D-F586-14BDC89C0525}"/>
                </a:ext>
              </a:extLst>
            </p:cNvPr>
            <p:cNvSpPr/>
            <p:nvPr/>
          </p:nvSpPr>
          <p:spPr>
            <a:xfrm>
              <a:off x="12264200" y="8138345"/>
              <a:ext cx="10774052" cy="2181938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00">
                  <a:solidFill>
                    <a:srgbClr val="01436C"/>
                  </a:solidFill>
                  <a:latin typeface="Montserrat" pitchFamily="2" charset="0"/>
                </a:rPr>
                <a:t>Conteúdo programático prático: Conhecimentos e utilização dos sistemas de segurança contra incêndio com inflamáveis.</a:t>
              </a:r>
            </a:p>
          </p:txBody>
        </p:sp>
      </p:grpSp>
      <p:sp>
        <p:nvSpPr>
          <p:cNvPr id="33" name="Seta: para a Direita 32">
            <a:extLst>
              <a:ext uri="{FF2B5EF4-FFF2-40B4-BE49-F238E27FC236}">
                <a16:creationId xmlns:a16="http://schemas.microsoft.com/office/drawing/2014/main" id="{76915840-5CB0-CECB-1388-86A5E3893503}"/>
              </a:ext>
            </a:extLst>
          </p:cNvPr>
          <p:cNvSpPr/>
          <p:nvPr/>
        </p:nvSpPr>
        <p:spPr>
          <a:xfrm>
            <a:off x="5063261" y="8627361"/>
            <a:ext cx="1114718" cy="597004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9"/>
          </a:p>
        </p:txBody>
      </p:sp>
      <p:sp>
        <p:nvSpPr>
          <p:cNvPr id="34" name="Seta: para a Direita 33">
            <a:extLst>
              <a:ext uri="{FF2B5EF4-FFF2-40B4-BE49-F238E27FC236}">
                <a16:creationId xmlns:a16="http://schemas.microsoft.com/office/drawing/2014/main" id="{F2516ADF-B362-BD04-86C3-25BCAC88CD4E}"/>
              </a:ext>
            </a:extLst>
          </p:cNvPr>
          <p:cNvSpPr/>
          <p:nvPr/>
        </p:nvSpPr>
        <p:spPr>
          <a:xfrm>
            <a:off x="10974591" y="8501158"/>
            <a:ext cx="1114718" cy="597004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599"/>
          </a:p>
        </p:txBody>
      </p:sp>
      <p:sp>
        <p:nvSpPr>
          <p:cNvPr id="39" name="Retângulo: Cantos Arredondados 38">
            <a:extLst>
              <a:ext uri="{FF2B5EF4-FFF2-40B4-BE49-F238E27FC236}">
                <a16:creationId xmlns:a16="http://schemas.microsoft.com/office/drawing/2014/main" id="{EE66A736-CC07-4823-6E28-862FF718FBA7}"/>
              </a:ext>
            </a:extLst>
          </p:cNvPr>
          <p:cNvSpPr/>
          <p:nvPr/>
        </p:nvSpPr>
        <p:spPr>
          <a:xfrm>
            <a:off x="228936" y="1137807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1. Estudo da Norma Regulamentadora n.º 20</a:t>
            </a:r>
          </a:p>
        </p:txBody>
      </p:sp>
      <p:sp>
        <p:nvSpPr>
          <p:cNvPr id="40" name="Retângulo: Cantos Arredondados 39">
            <a:extLst>
              <a:ext uri="{FF2B5EF4-FFF2-40B4-BE49-F238E27FC236}">
                <a16:creationId xmlns:a16="http://schemas.microsoft.com/office/drawing/2014/main" id="{4BE9982D-0C3F-8A73-53DF-54D081BC7016}"/>
              </a:ext>
            </a:extLst>
          </p:cNvPr>
          <p:cNvSpPr/>
          <p:nvPr/>
        </p:nvSpPr>
        <p:spPr>
          <a:xfrm>
            <a:off x="4945113" y="1137807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2. Metodologias de Análise de Riscos: conceitos e exercícios práticos</a:t>
            </a:r>
          </a:p>
        </p:txBody>
      </p:sp>
      <p:sp>
        <p:nvSpPr>
          <p:cNvPr id="41" name="Retângulo: Cantos Arredondados 40">
            <a:extLst>
              <a:ext uri="{FF2B5EF4-FFF2-40B4-BE49-F238E27FC236}">
                <a16:creationId xmlns:a16="http://schemas.microsoft.com/office/drawing/2014/main" id="{194B166F-6544-A7E1-8F94-0DA521111B20}"/>
              </a:ext>
            </a:extLst>
          </p:cNvPr>
          <p:cNvSpPr/>
          <p:nvPr/>
        </p:nvSpPr>
        <p:spPr>
          <a:xfrm>
            <a:off x="9700148" y="1137807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3. Permissão para Trabalho com Inflamáveis</a:t>
            </a:r>
          </a:p>
        </p:txBody>
      </p:sp>
      <p:sp>
        <p:nvSpPr>
          <p:cNvPr id="42" name="Retângulo: Cantos Arredondados 41">
            <a:extLst>
              <a:ext uri="{FF2B5EF4-FFF2-40B4-BE49-F238E27FC236}">
                <a16:creationId xmlns:a16="http://schemas.microsoft.com/office/drawing/2014/main" id="{E1969016-A61C-5418-E4CE-62846F80FA99}"/>
              </a:ext>
            </a:extLst>
          </p:cNvPr>
          <p:cNvSpPr/>
          <p:nvPr/>
        </p:nvSpPr>
        <p:spPr>
          <a:xfrm>
            <a:off x="14516800" y="11357406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4. Acidentes com inflamáveis: análise de causas e medidas preventivas</a:t>
            </a:r>
          </a:p>
        </p:txBody>
      </p:sp>
      <p:sp>
        <p:nvSpPr>
          <p:cNvPr id="43" name="Retângulo: Cantos Arredondados 42">
            <a:extLst>
              <a:ext uri="{FF2B5EF4-FFF2-40B4-BE49-F238E27FC236}">
                <a16:creationId xmlns:a16="http://schemas.microsoft.com/office/drawing/2014/main" id="{96542B9B-2C8D-849E-1E63-84AD05FEAAA5}"/>
              </a:ext>
            </a:extLst>
          </p:cNvPr>
          <p:cNvSpPr/>
          <p:nvPr/>
        </p:nvSpPr>
        <p:spPr>
          <a:xfrm>
            <a:off x="19333452" y="11338865"/>
            <a:ext cx="4593737" cy="194026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200">
                <a:solidFill>
                  <a:srgbClr val="01436C"/>
                </a:solidFill>
                <a:latin typeface="Montserrat" pitchFamily="2" charset="0"/>
              </a:rPr>
              <a:t>5. Planejamento de Resposta a emergências com Inflamáveis.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3B50AA6B-912F-233C-D031-2BDBC65480BE}"/>
              </a:ext>
            </a:extLst>
          </p:cNvPr>
          <p:cNvSpPr/>
          <p:nvPr/>
        </p:nvSpPr>
        <p:spPr>
          <a:xfrm>
            <a:off x="6175526" y="363368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116C3D8F-1B2B-7F1B-FDD4-EBBA02103918}"/>
              </a:ext>
            </a:extLst>
          </p:cNvPr>
          <p:cNvSpPr txBox="1"/>
          <p:nvPr/>
        </p:nvSpPr>
        <p:spPr>
          <a:xfrm>
            <a:off x="5996622" y="436813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Avançado I : Conteúdo programático teórico</a:t>
            </a: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38FCDA18-5313-8FF7-0916-696AB90805FA}"/>
              </a:ext>
            </a:extLst>
          </p:cNvPr>
          <p:cNvSpPr/>
          <p:nvPr/>
        </p:nvSpPr>
        <p:spPr>
          <a:xfrm>
            <a:off x="6487617" y="6833950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FC72BD1-EBFF-3C77-321C-8D8BED5F2EEF}"/>
              </a:ext>
            </a:extLst>
          </p:cNvPr>
          <p:cNvSpPr txBox="1"/>
          <p:nvPr/>
        </p:nvSpPr>
        <p:spPr>
          <a:xfrm>
            <a:off x="6308713" y="6907395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Avançado II : Conteúdo programático teórico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BC5E5430-AC33-3F81-4057-022917AADC97}"/>
              </a:ext>
            </a:extLst>
          </p:cNvPr>
          <p:cNvSpPr/>
          <p:nvPr/>
        </p:nvSpPr>
        <p:spPr>
          <a:xfrm>
            <a:off x="6350417" y="10370012"/>
            <a:ext cx="11827565" cy="61196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5D83BECF-071B-CDDF-17A7-93D5D2751E1D}"/>
              </a:ext>
            </a:extLst>
          </p:cNvPr>
          <p:cNvSpPr txBox="1"/>
          <p:nvPr/>
        </p:nvSpPr>
        <p:spPr>
          <a:xfrm>
            <a:off x="6171513" y="10443457"/>
            <a:ext cx="12185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400">
                <a:solidFill>
                  <a:srgbClr val="01436C"/>
                </a:solidFill>
                <a:latin typeface="Montserrat" pitchFamily="2" charset="0"/>
              </a:rPr>
              <a:t>Curso  Específico: Conteúdo programático teórico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084BFF6-E7A2-C5E4-EE15-9962784FEC9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44" y="436813"/>
            <a:ext cx="1598107" cy="539805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EA8E436-B007-671C-6E34-7C6419C8C5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645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497916" y="0"/>
            <a:ext cx="13622231" cy="13833068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cc</a:t>
            </a:r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173" y="3043404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074089" y="1275238"/>
            <a:ext cx="1256434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  <a:r>
              <a:rPr lang="pt-BR" sz="3200" b="1" dirty="0">
                <a:solidFill>
                  <a:schemeClr val="bg1"/>
                </a:solidFill>
                <a:latin typeface="Montserrat" pitchFamily="2" charset="0"/>
              </a:rPr>
              <a:t>​</a:t>
            </a:r>
            <a:endParaRPr lang="pt-BR" sz="4800" dirty="0">
              <a:solidFill>
                <a:schemeClr val="bg1"/>
              </a:solidFill>
              <a:latin typeface="Montserrat" pitchFamily="2" charset="0"/>
            </a:endParaRPr>
          </a:p>
          <a:p>
            <a:endParaRPr lang="pt-BR" sz="48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BE3E745-0CD7-37CD-930D-0C82725E6D0A}"/>
              </a:ext>
            </a:extLst>
          </p:cNvPr>
          <p:cNvSpPr txBox="1"/>
          <p:nvPr/>
        </p:nvSpPr>
        <p:spPr>
          <a:xfrm>
            <a:off x="825582" y="875129"/>
            <a:ext cx="795265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– 23 </a:t>
            </a:r>
          </a:p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Medidas de prevenção contra incêndios 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3AC7320-E3CC-7215-22CD-29C14BCFD54A}"/>
              </a:ext>
            </a:extLst>
          </p:cNvPr>
          <p:cNvSpPr txBox="1"/>
          <p:nvPr/>
        </p:nvSpPr>
        <p:spPr>
          <a:xfrm>
            <a:off x="488517" y="4860549"/>
            <a:ext cx="949111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23.3.1 Toda organização deve adotar medidas de prevenção contra incêndios em conformidade 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m a legislação </a:t>
            </a:r>
            <a:r>
              <a:rPr lang="pt-BR" sz="3200" u="sng" dirty="0">
                <a:highlight>
                  <a:srgbClr val="FFFF00"/>
                </a:highlight>
                <a:latin typeface="Verdana" panose="020B0604030504040204" pitchFamily="34" charset="0"/>
                <a:ea typeface="Verdana" panose="020B0604030504040204" pitchFamily="34" charset="0"/>
              </a:rPr>
              <a:t>Estadual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e, quando aplicável, de forma complementar, com as normas técnicas oficiais.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Seguindo  a NBR / 14276 atual, e ou de acordo com cada estado e sua particularidade.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1584D24-4745-8E80-1A6C-747C66F78B7A}"/>
              </a:ext>
            </a:extLst>
          </p:cNvPr>
          <p:cNvSpPr txBox="1"/>
          <p:nvPr/>
        </p:nvSpPr>
        <p:spPr>
          <a:xfrm>
            <a:off x="660926" y="10287402"/>
            <a:ext cx="949111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endParaRPr lang="pt-B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8A3CDFD1-C29D-5A98-F262-4B52330BCB82}"/>
              </a:ext>
            </a:extLst>
          </p:cNvPr>
          <p:cNvSpPr txBox="1"/>
          <p:nvPr/>
        </p:nvSpPr>
        <p:spPr>
          <a:xfrm>
            <a:off x="11021681" y="2456795"/>
            <a:ext cx="12355191" cy="7694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pt-BR" sz="3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Cursos são classificados em: </a:t>
            </a:r>
          </a:p>
          <a:p>
            <a:pPr rtl="0"/>
            <a:endParaRPr lang="pt-BR" sz="3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ásico </a:t>
            </a:r>
            <a:b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ermediário</a:t>
            </a:r>
            <a:b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nçado</a:t>
            </a:r>
          </a:p>
          <a:p>
            <a:pPr rtl="0"/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onteúdo programático de acordo com: </a:t>
            </a: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 INSTRUÇÃO NORMATIVA DE  CADA ESTADO ) </a:t>
            </a:r>
          </a:p>
          <a:p>
            <a:pPr rtl="0"/>
            <a:endParaRPr lang="pt-BR" sz="28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ntro do site do corpo de bombeiro de cada estado, vai ter a instrução normativa deles para formação de brigada. Lá vai ter o conteúdo programático e carga horária exata de cada uma delas. </a:t>
            </a:r>
          </a:p>
          <a:p>
            <a:pPr rtl="0"/>
            <a:endParaRPr lang="pt-BR" sz="4400" b="1" dirty="0">
              <a:solidFill>
                <a:srgbClr val="FFFFFF"/>
              </a:solidFill>
            </a:endParaRPr>
          </a:p>
          <a:p>
            <a:pPr rtl="0"/>
            <a:endParaRPr lang="pt-BR" sz="4400" b="1" dirty="0">
              <a:solidFill>
                <a:srgbClr val="FFFFFF"/>
              </a:solidFill>
            </a:endParaRPr>
          </a:p>
          <a:p>
            <a:pPr rtl="0"/>
            <a:r>
              <a:rPr lang="pt-BR" sz="4400" b="1" dirty="0">
                <a:solidFill>
                  <a:srgbClr val="FFFFFF"/>
                </a:solidFill>
              </a:rPr>
              <a:t> </a:t>
            </a:r>
          </a:p>
          <a:p>
            <a:endParaRPr lang="pt-BR" dirty="0"/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50706AB4-89F4-7E41-A183-8A46BC6C5B4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3C29B5E4-5208-873C-677D-4124D673B4F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60128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497916" y="0"/>
            <a:ext cx="13622231" cy="13833068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cc</a:t>
            </a:r>
            <a:endParaRPr lang="pt-BR" dirty="0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4" y="-10888"/>
            <a:ext cx="11324785" cy="13796053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287" y="2984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188825" y="1424126"/>
            <a:ext cx="1323279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/ Conteúdo programático estadual. </a:t>
            </a:r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​</a:t>
            </a:r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endParaRPr lang="pt-BR" sz="48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BE3E745-0CD7-37CD-930D-0C82725E6D0A}"/>
              </a:ext>
            </a:extLst>
          </p:cNvPr>
          <p:cNvSpPr txBox="1"/>
          <p:nvPr/>
        </p:nvSpPr>
        <p:spPr>
          <a:xfrm>
            <a:off x="872960" y="861238"/>
            <a:ext cx="814346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NR – 23 </a:t>
            </a:r>
          </a:p>
          <a:p>
            <a:r>
              <a:rPr lang="pt-BR" sz="4400" b="1" dirty="0">
                <a:latin typeface="Verdana" panose="020B0604030504040204" pitchFamily="34" charset="0"/>
                <a:ea typeface="Verdana" panose="020B0604030504040204" pitchFamily="34" charset="0"/>
              </a:rPr>
              <a:t>Medidas de prevenção contra incêndios 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1584D24-4745-8E80-1A6C-747C66F78B7A}"/>
              </a:ext>
            </a:extLst>
          </p:cNvPr>
          <p:cNvSpPr txBox="1"/>
          <p:nvPr/>
        </p:nvSpPr>
        <p:spPr>
          <a:xfrm>
            <a:off x="321324" y="4428309"/>
            <a:ext cx="991909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Seguindo  a NBR / 14276 atual </a:t>
            </a:r>
          </a:p>
          <a:p>
            <a:pPr rtl="0"/>
            <a:endParaRPr lang="pt-BR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Ex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: 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conteúdo programático deverá ser  verificado em cada NBR. 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rtl="0"/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cordo com cada NBR de seu respectivo estado . (Seguindo o exemplo: 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14276 atual ) </a:t>
            </a:r>
          </a:p>
          <a:p>
            <a:pPr rtl="0"/>
            <a:endParaRPr lang="pt-BR" sz="4000" b="1" dirty="0"/>
          </a:p>
          <a:p>
            <a:endParaRPr lang="pt-BR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86ED1B4-58FE-7528-0108-80B95672B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1069" y="2651205"/>
            <a:ext cx="8943979" cy="10066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3AA9A23D-9DAC-1B2E-4FB6-0B46572B10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33C6060-5E4C-C020-1D8D-5A72464B5C2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10228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83108" y="2358741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-29 Segurança e Saúde nos serviços portuários.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08" y="3939604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147471" y="2081690"/>
            <a:ext cx="11185512" cy="10218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Sinalização, rotulagem e ficha de segurança de produtos químicos. 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aria / Validade  A critério do empregador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lasses e seus perigo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rcação, rotulagem e sinalizaçã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imentos de resposta a emergência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ções de primeiros socorro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imentos de manuseio segur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quisitos de segurança nos portos para carga, trânsito e descarga; e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ulamentação da instalação portuária, em especial, a limitação de quantidade.</a:t>
            </a:r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302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20h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28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745364" y="1335145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.7.5: APLICAÇÃO DE AGROQUÍMICOS</a:t>
            </a:r>
            <a:endParaRPr lang="pt-BR" sz="4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1" name="Agrupar 10"/>
          <p:cNvGrpSpPr/>
          <p:nvPr/>
        </p:nvGrpSpPr>
        <p:grpSpPr>
          <a:xfrm>
            <a:off x="12465854" y="2308861"/>
            <a:ext cx="11467956" cy="9098280"/>
            <a:chOff x="8392701" y="2062341"/>
            <a:chExt cx="15127728" cy="10285314"/>
          </a:xfrm>
        </p:grpSpPr>
        <p:pic>
          <p:nvPicPr>
            <p:cNvPr id="12" name="Imagem 11" descr="Interface gráfica do usuário, Texto, Aplicativo&#10;&#10;Descrição gerada automaticamente">
              <a:extLst>
                <a:ext uri="{FF2B5EF4-FFF2-40B4-BE49-F238E27FC236}">
                  <a16:creationId xmlns:a16="http://schemas.microsoft.com/office/drawing/2014/main" id="{94B11411-159F-9604-E8BA-184B193B05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92701" y="2062341"/>
              <a:ext cx="15116730" cy="3345251"/>
            </a:xfrm>
            <a:prstGeom prst="rect">
              <a:avLst/>
            </a:prstGeom>
          </p:spPr>
        </p:pic>
        <p:pic>
          <p:nvPicPr>
            <p:cNvPr id="15" name="Imagem 14" descr="Interface gráfica do usuário, Texto, Aplicativo, chat ou mensagem de texto&#10;&#10;Descrição gerada automaticamente">
              <a:extLst>
                <a:ext uri="{FF2B5EF4-FFF2-40B4-BE49-F238E27FC236}">
                  <a16:creationId xmlns:a16="http://schemas.microsoft.com/office/drawing/2014/main" id="{6A493F76-F4B0-1B82-6F24-B02F77638A4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411246" y="5398073"/>
              <a:ext cx="15109183" cy="3297806"/>
            </a:xfrm>
            <a:prstGeom prst="rect">
              <a:avLst/>
            </a:prstGeom>
          </p:spPr>
        </p:pic>
        <p:pic>
          <p:nvPicPr>
            <p:cNvPr id="16" name="Imagem 15" descr="Texto&#10;&#10;Descrição gerada automaticamente">
              <a:extLst>
                <a:ext uri="{FF2B5EF4-FFF2-40B4-BE49-F238E27FC236}">
                  <a16:creationId xmlns:a16="http://schemas.microsoft.com/office/drawing/2014/main" id="{D13BF128-E335-A55E-22C0-A3FBB6F545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411146" y="8657706"/>
              <a:ext cx="15080796" cy="36899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533179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20h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32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88087" y="1413237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 - SEGURANÇA </a:t>
            </a:r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EM MÁQUINAS ESTACIONÁRIAS</a:t>
            </a:r>
          </a:p>
        </p:txBody>
      </p:sp>
      <p:pic>
        <p:nvPicPr>
          <p:cNvPr id="18" name="Imagem 17" descr="Texto&#10;&#10;Descrição gerada automaticamente">
            <a:extLst>
              <a:ext uri="{FF2B5EF4-FFF2-40B4-BE49-F238E27FC236}">
                <a16:creationId xmlns:a16="http://schemas.microsoft.com/office/drawing/2014/main" id="{FE6D93AB-C00D-9BF0-9AFB-E865E53E05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562401" y="2905330"/>
            <a:ext cx="13001539" cy="7919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01444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24h TOTAL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32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88087" y="1413237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 - SEGURANÇA EM MÁQUINAS AUTOPROPELIDAS</a:t>
            </a:r>
            <a:endParaRPr lang="pt-BR" sz="4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agem 10" descr="Texto&#10;&#10;Descrição gerada automaticamente">
            <a:extLst>
              <a:ext uri="{FF2B5EF4-FFF2-40B4-BE49-F238E27FC236}">
                <a16:creationId xmlns:a16="http://schemas.microsoft.com/office/drawing/2014/main" id="{FE6D93AB-C00D-9BF0-9AFB-E865E53E05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35536" y="2736676"/>
            <a:ext cx="12942114" cy="788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61896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794057" y="0"/>
            <a:ext cx="13286057" cy="13716002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364" y="2771896"/>
            <a:ext cx="2301735" cy="13343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745364" y="4131214"/>
            <a:ext cx="11185512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Identificação do colaborador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Carga horária: 40H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Validade: Anual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Reciclagem: 8h mínima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Local 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responsável técnico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- Assinatura do colaborador</a:t>
            </a:r>
            <a:endParaRPr lang="pt-BR" sz="3200" dirty="0"/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44ABAE1-8701-5118-8B9B-DE00F77D4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3A6B2BC5-A4A0-1091-80D0-0A41101BBC9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88087" y="1413237"/>
            <a:ext cx="88278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1 – SUPERVISORES DE ENTRADA</a:t>
            </a:r>
          </a:p>
        </p:txBody>
      </p:sp>
      <p:grpSp>
        <p:nvGrpSpPr>
          <p:cNvPr id="16" name="Agrupar 15"/>
          <p:cNvGrpSpPr/>
          <p:nvPr/>
        </p:nvGrpSpPr>
        <p:grpSpPr>
          <a:xfrm>
            <a:off x="11930876" y="2945878"/>
            <a:ext cx="12201236" cy="8156448"/>
            <a:chOff x="9669315" y="2763891"/>
            <a:chExt cx="14388537" cy="9637274"/>
          </a:xfrm>
        </p:grpSpPr>
        <p:pic>
          <p:nvPicPr>
            <p:cNvPr id="18" name="Imagem 17" descr="Texto&#10;&#10;Descrição gerada automaticamente">
              <a:extLst>
                <a:ext uri="{FF2B5EF4-FFF2-40B4-BE49-F238E27FC236}">
                  <a16:creationId xmlns:a16="http://schemas.microsoft.com/office/drawing/2014/main" id="{842FED48-5A3B-1C76-5F16-5BB3268CCF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69315" y="2763891"/>
              <a:ext cx="14351873" cy="8171731"/>
            </a:xfrm>
            <a:prstGeom prst="rect">
              <a:avLst/>
            </a:prstGeom>
          </p:spPr>
        </p:pic>
        <p:pic>
          <p:nvPicPr>
            <p:cNvPr id="19" name="Imagem 18" descr="Interface gráfica do usuário, Texto&#10;&#10;Descrição gerada automaticamente">
              <a:extLst>
                <a:ext uri="{FF2B5EF4-FFF2-40B4-BE49-F238E27FC236}">
                  <a16:creationId xmlns:a16="http://schemas.microsoft.com/office/drawing/2014/main" id="{E6246FFB-C9EC-ECB1-EBAE-0DEC928BC4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677052" y="10938449"/>
              <a:ext cx="14380800" cy="14627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640545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FDCB6D-FFAD-CAD0-2206-28873E5CF6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989719" y="-4760658"/>
            <a:ext cx="6170892" cy="8032151"/>
            <a:chOff x="611617" y="1481762"/>
            <a:chExt cx="6583680" cy="4499147"/>
          </a:xfrm>
        </p:grpSpPr>
        <p:sp>
          <p:nvSpPr>
            <p:cNvPr id="15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6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7392946F-0874-43F5-EDFA-35DD6A775A00}"/>
              </a:ext>
            </a:extLst>
          </p:cNvPr>
          <p:cNvSpPr txBox="1"/>
          <p:nvPr/>
        </p:nvSpPr>
        <p:spPr>
          <a:xfrm>
            <a:off x="1174285" y="895032"/>
            <a:ext cx="6811416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1 – VIGIAS E TRABALHADORE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591F7F3-2C06-4540-8529-46747F672E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0440" y="2189172"/>
            <a:ext cx="2301735" cy="133434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75DA434C-1F33-E0BD-BB88-FA392E3EDD7A}"/>
              </a:ext>
            </a:extLst>
          </p:cNvPr>
          <p:cNvSpPr txBox="1"/>
          <p:nvPr/>
        </p:nvSpPr>
        <p:spPr>
          <a:xfrm>
            <a:off x="790077" y="3172113"/>
            <a:ext cx="9890876" cy="495520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Identificação do colaborador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Carga horária: 16H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Validade: Anual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Loca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Nome e qualificação dos instrutores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Assinatura do responsável técnico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Assinatura do colaborador</a:t>
            </a:r>
            <a:br>
              <a:rPr lang="pt-BR" sz="28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19479EAD-94DC-CADE-7BCF-03F7841B26EF}"/>
              </a:ext>
            </a:extLst>
          </p:cNvPr>
          <p:cNvSpPr txBox="1"/>
          <p:nvPr/>
        </p:nvSpPr>
        <p:spPr>
          <a:xfrm>
            <a:off x="12130249" y="3155744"/>
            <a:ext cx="12960992" cy="61863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Definições; 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Reconhecimento, avaliação e controle dos risco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Funcionamento de equipamentos utilizados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-Procedimentos e utilização da Permissão de Entrada e Trabalho;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Critérios de indicação e uso de equipamentos para controle de riscos;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br>
              <a:rPr lang="pt-BR" sz="3600" b="1" dirty="0">
                <a:latin typeface="Montserrat" pitchFamily="2" charset="0"/>
              </a:rPr>
            </a:br>
            <a:br>
              <a:rPr lang="pt-BR" sz="3600" b="1" dirty="0">
                <a:latin typeface="Montserrat" pitchFamily="2" charset="0"/>
              </a:rPr>
            </a:br>
            <a:endParaRPr lang="pt-BR" sz="3600" b="1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EF70D861-B618-735F-23BC-8F90F69AD7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4263" y="9589887"/>
            <a:ext cx="20791972" cy="2295704"/>
          </a:xfrm>
          <a:prstGeom prst="rect">
            <a:avLst/>
          </a:prstGeom>
        </p:spPr>
      </p:pic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ABCD186-E4FD-C014-2747-4178B40CD9C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1080234F-96E1-C737-DE28-136EEA8FA24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10426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2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3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989719" y="-4760658"/>
            <a:ext cx="6170892" cy="8032151"/>
            <a:chOff x="611617" y="1481762"/>
            <a:chExt cx="6583680" cy="4499147"/>
          </a:xfrm>
        </p:grpSpPr>
        <p:sp>
          <p:nvSpPr>
            <p:cNvPr id="15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6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410019" y="694692"/>
            <a:ext cx="9654221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2 - SEGURANÇA E SAÚDE NO TRABALHO EM SERVIÇOS DE SAÚDE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0019" y="2566967"/>
            <a:ext cx="2301735" cy="133434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99E73609-AE42-52F0-A426-36E9BB2433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0019" y="3940495"/>
            <a:ext cx="21866219" cy="5339031"/>
          </a:xfrm>
          <a:prstGeom prst="rect">
            <a:avLst/>
          </a:prstGeom>
        </p:spPr>
      </p:pic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EFE1049-8D33-684A-B95E-FBD07D25EE7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F4E88F0-C422-511F-A549-6C29EFC5676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674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1412CDE-B85D-B8CB-66C8-F18D541C5A48}"/>
              </a:ext>
            </a:extLst>
          </p:cNvPr>
          <p:cNvSpPr/>
          <p:nvPr/>
        </p:nvSpPr>
        <p:spPr>
          <a:xfrm>
            <a:off x="0" y="-1"/>
            <a:ext cx="24377650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51D340D6-039B-FE52-82F6-4638C44BE78D}"/>
              </a:ext>
            </a:extLst>
          </p:cNvPr>
          <p:cNvGrpSpPr/>
          <p:nvPr/>
        </p:nvGrpSpPr>
        <p:grpSpPr>
          <a:xfrm>
            <a:off x="9722518" y="-2"/>
            <a:ext cx="14655132" cy="13716001"/>
            <a:chOff x="11184483" y="-2"/>
            <a:chExt cx="13193167" cy="13716001"/>
          </a:xfrm>
        </p:grpSpPr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C1F27ABD-8000-E2FF-9237-585BA6FB30C7}"/>
                </a:ext>
              </a:extLst>
            </p:cNvPr>
            <p:cNvSpPr/>
            <p:nvPr/>
          </p:nvSpPr>
          <p:spPr>
            <a:xfrm>
              <a:off x="12585032" y="-1"/>
              <a:ext cx="11792618" cy="13716000"/>
            </a:xfrm>
            <a:prstGeom prst="rect">
              <a:avLst/>
            </a:prstGeom>
            <a:solidFill>
              <a:srgbClr val="043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tângulo: Cantos Arredondados 9">
              <a:extLst>
                <a:ext uri="{FF2B5EF4-FFF2-40B4-BE49-F238E27FC236}">
                  <a16:creationId xmlns:a16="http://schemas.microsoft.com/office/drawing/2014/main" id="{234BA7F4-B102-57FE-E86D-D55A12B0FD09}"/>
                </a:ext>
              </a:extLst>
            </p:cNvPr>
            <p:cNvSpPr/>
            <p:nvPr/>
          </p:nvSpPr>
          <p:spPr>
            <a:xfrm>
              <a:off x="11184483" y="-2"/>
              <a:ext cx="9293264" cy="13716000"/>
            </a:xfrm>
            <a:prstGeom prst="roundRect">
              <a:avLst/>
            </a:prstGeom>
            <a:solidFill>
              <a:srgbClr val="043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939453" y="2779583"/>
            <a:ext cx="92640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PCMS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B702AB-E5B8-9632-EDD8-9160C1D14EA5}"/>
              </a:ext>
            </a:extLst>
          </p:cNvPr>
          <p:cNvSpPr txBox="1"/>
          <p:nvPr/>
        </p:nvSpPr>
        <p:spPr>
          <a:xfrm>
            <a:off x="939453" y="3983102"/>
            <a:ext cx="7588729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​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 Programa de Controle Médico de Saúde Ocupacional – PCMSO é um relatório elaborado por profissional ou empresa especializada em medicina e segurança do trabalho, que especifica os exames, procedimentos e condutas a serem adotadas pelas empresas em função dos riscos aos quais os empregados se expõem no ambiente de trabalho. </a:t>
            </a:r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759" y="3663258"/>
            <a:ext cx="1683929" cy="97619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87D56530-86E8-E595-7CCA-C95D8822615A}"/>
              </a:ext>
            </a:extLst>
          </p:cNvPr>
          <p:cNvSpPr txBox="1"/>
          <p:nvPr/>
        </p:nvSpPr>
        <p:spPr>
          <a:xfrm>
            <a:off x="10306516" y="619029"/>
            <a:ext cx="13805683" cy="12895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ter essa base?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 empresa (dados como nome, CNPJ, endereço, ramo de atividade, grau de risco, número de trabalhadores (por sexo), horário de trabalho e turnos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s riscos, separados por função, setor ou grupo homogêneo de risco (GHE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s exigências físicas e psíquicas dos colaboradores (por função ou setor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anual (por função, setor ou GHE) dos exames clínicos e complementares, de acordo com os risco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a periodicidade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os critérios de interpretação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as condutas médico-administrativas necessárias no caso de alteração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e exames complementares (caso o empregador concorde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ção anual de palestras, cursos e treinamentos voltados para a prevenção de doenças do trabalho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e ações votadas para a promoção da saúde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as visitas periódicas aos postos de trabalho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terminação dos indicadores de saúde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ejamento de treinamentos em primeiros socorro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ação do relatório anual do PCM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 de data de apresentação do relatório para discussão junto à CIPA e a alta gestão. </a:t>
            </a: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​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78580CC-632E-A108-0196-CEA89F2210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000D7F12-5DCE-3273-733A-5CA96AFE3DB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02276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25293156" cy="13774610"/>
          </a:xfrm>
          <a:prstGeom prst="rect">
            <a:avLst/>
          </a:prstGeom>
        </p:spPr>
      </p:pic>
      <p:grpSp>
        <p:nvGrpSpPr>
          <p:cNvPr id="12" name="Agrupar 11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3131378" y="10265559"/>
            <a:ext cx="7390591" cy="8032151"/>
            <a:chOff x="611617" y="1481762"/>
            <a:chExt cx="6583680" cy="4499147"/>
          </a:xfrm>
        </p:grpSpPr>
        <p:sp>
          <p:nvSpPr>
            <p:cNvPr id="13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4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17989719" y="-4760658"/>
            <a:ext cx="6170892" cy="8032151"/>
            <a:chOff x="611617" y="1481762"/>
            <a:chExt cx="6583680" cy="4499147"/>
          </a:xfrm>
        </p:grpSpPr>
        <p:sp>
          <p:nvSpPr>
            <p:cNvPr id="16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7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410019" y="694692"/>
            <a:ext cx="11409869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2 - SEGURANÇA E SAÚDE NO TRABALHO EM SERVIÇOS DE SAÚDE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0030" y="1999444"/>
            <a:ext cx="2301735" cy="133434"/>
          </a:xfrm>
          <a:prstGeom prst="rect">
            <a:avLst/>
          </a:prstGeom>
        </p:spPr>
      </p:pic>
      <p:pic>
        <p:nvPicPr>
          <p:cNvPr id="5" name="Imagem 4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4D1BCEC8-52FC-28C3-CE7B-95A30C77A4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4113" y="3113946"/>
            <a:ext cx="17593466" cy="648329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871DED37-0ECD-574C-CFAE-FA0BD1B761C6}"/>
              </a:ext>
            </a:extLst>
          </p:cNvPr>
          <p:cNvSpPr txBox="1"/>
          <p:nvPr/>
        </p:nvSpPr>
        <p:spPr>
          <a:xfrm>
            <a:off x="1410821" y="2386917"/>
            <a:ext cx="1313697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</p:txBody>
      </p:sp>
      <p:pic>
        <p:nvPicPr>
          <p:cNvPr id="9" name="Imagem 8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14C2F95E-71D6-8CC1-46E8-0146036C5C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6730" y="10730635"/>
            <a:ext cx="17600849" cy="2381250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1854C927-5691-F791-9854-2EA31C015794}"/>
              </a:ext>
            </a:extLst>
          </p:cNvPr>
          <p:cNvSpPr txBox="1"/>
          <p:nvPr/>
        </p:nvSpPr>
        <p:spPr>
          <a:xfrm>
            <a:off x="1414113" y="9929414"/>
            <a:ext cx="17621537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do documento de comprovação da capacitação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114B928-0DC1-F591-5B45-1E7BF753539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54D650F1-008A-0A41-D754-444F7674352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70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179763" y="2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66412" y="1473811"/>
            <a:ext cx="91255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3 - TRABALHO EM ESPAÇOS CONFINADO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412" y="281396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666412" y="3807210"/>
            <a:ext cx="8344592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A NR 33 do MTE trata sobre os requisitos mínimos para identificação de espaços confinados e o reconhecimento, avaliação, monitoramento e controle dos riscos existentes, de forma a garantir permanentemente a segurança e saúde dos trabalhadores que interagem direta ou indiretamente nestes espaços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840574" y="2797250"/>
            <a:ext cx="1174612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a NR 33 - Segurança e Saúde no Trabalho em Espaços Confinados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01 (um) ano</a:t>
            </a:r>
          </a:p>
          <a:p>
            <a:endParaRPr lang="pt-BR" sz="4000" dirty="0">
              <a:solidFill>
                <a:schemeClr val="tx2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4000" dirty="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D5F41D3C-829B-09CF-5ECE-A2E2A4AC2662}"/>
              </a:ext>
            </a:extLst>
          </p:cNvPr>
          <p:cNvSpPr/>
          <p:nvPr/>
        </p:nvSpPr>
        <p:spPr>
          <a:xfrm>
            <a:off x="11840574" y="7454310"/>
            <a:ext cx="11746122" cy="423407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BB967EA-9E7A-798D-167A-6511ABB09A3F}"/>
              </a:ext>
            </a:extLst>
          </p:cNvPr>
          <p:cNvSpPr txBox="1"/>
          <p:nvPr/>
        </p:nvSpPr>
        <p:spPr>
          <a:xfrm>
            <a:off x="12379446" y="7871951"/>
            <a:ext cx="10874057" cy="38164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BR" sz="2400" b="1" dirty="0">
                <a:latin typeface="Verdana" panose="020B0604030504040204" pitchFamily="34" charset="0"/>
                <a:ea typeface="Verdana" panose="020B0604030504040204" pitchFamily="34" charset="0"/>
              </a:rPr>
              <a:t>Os instrutores devem possuir comprovada proficiência no conteúdo que irão ministrar.​</a:t>
            </a:r>
          </a:p>
          <a:p>
            <a:pPr algn="ctr"/>
            <a:endParaRPr lang="pt-BR" sz="2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pt-BR" sz="2400" dirty="0">
                <a:latin typeface="Verdana" panose="020B0604030504040204" pitchFamily="34" charset="0"/>
                <a:ea typeface="Verdana" panose="020B0604030504040204" pitchFamily="34" charset="0"/>
              </a:rPr>
              <a:t>Deverá constar assinatura e o conselho de classe do profissional da área de segurança do trabalho,  no certificado do funcionário. Caso o instrutor não seja qualificado na área de segurança do trabalho, deverá ser anexado o certificado de proficiência do instrutor (Habilitação do profissional apto a ministrar o treinamento de espaço confinado)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6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9" name="Imagem 8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F0A0EC07-0CB2-50C1-88E2-A6B807228CC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5E7166A0-88F3-8153-86A4-0C75858567E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4807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548205" y="2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FFD9713-F467-DEDE-10CA-73DB13F9B5F9}"/>
              </a:ext>
            </a:extLst>
          </p:cNvPr>
          <p:cNvSpPr/>
          <p:nvPr/>
        </p:nvSpPr>
        <p:spPr>
          <a:xfrm>
            <a:off x="0" y="1"/>
            <a:ext cx="1204622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10639414" y="2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451228" y="1272951"/>
            <a:ext cx="84755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Verdana" panose="020B0604030504040204" pitchFamily="34" charset="0"/>
                <a:ea typeface="Verdana" panose="020B0604030504040204" pitchFamily="34" charset="0"/>
              </a:rPr>
              <a:t>NR 33 - TRABALHO EM ESPAÇOS CONFINADOS​</a:t>
            </a:r>
          </a:p>
        </p:txBody>
      </p:sp>
      <p:graphicFrame>
        <p:nvGraphicFramePr>
          <p:cNvPr id="10" name="Diagrama 9">
            <a:extLst>
              <a:ext uri="{FF2B5EF4-FFF2-40B4-BE49-F238E27FC236}">
                <a16:creationId xmlns:a16="http://schemas.microsoft.com/office/drawing/2014/main" id="{749F3DA1-5E7D-D6E8-C789-ED01C00006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1373100"/>
              </p:ext>
            </p:extLst>
          </p:nvPr>
        </p:nvGraphicFramePr>
        <p:xfrm>
          <a:off x="1217343" y="4311859"/>
          <a:ext cx="13027769" cy="7735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2916133" y="1887408"/>
            <a:ext cx="10244174" cy="10926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balhadores autorizados e Vigias:​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definições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reconhecimento, avaliação e controle de riscos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funcionamento de equipamentos utilizados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procedimentos e utilização da Permissão de Entrada e Trabalho; ​</a:t>
            </a: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) noções de resgate e primeiros socorros​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​</a:t>
            </a: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pervisores: ​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s espaços confinados; 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de indicação e uso de equipamentos para controle de riscos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hecimentos sobre práticas seguras em espaços confinados 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gislação de segurança e saúde no trabalho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grama de proteção respiratória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Área classificada; 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perações de salvamento. </a:t>
            </a:r>
          </a:p>
        </p:txBody>
      </p:sp>
      <p:pic>
        <p:nvPicPr>
          <p:cNvPr id="2" name="Imagem 1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176CF38-FDE6-D0D8-1F85-184EC71A1CF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8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89E06685-9D85-BCD4-6E58-297837D25C9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7364" y="493492"/>
            <a:ext cx="1210743" cy="426254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0922" y="2596390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99226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800800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863837" y="2853141"/>
            <a:ext cx="7524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34 Trabalho à Quente (solda)</a:t>
            </a:r>
            <a:r>
              <a:rPr lang="pt-BR" sz="3600" b="1" dirty="0">
                <a:solidFill>
                  <a:srgbClr val="000000"/>
                </a:solidFill>
                <a:latin typeface="Montserrat" pitchFamily="2" charset="0"/>
              </a:rPr>
              <a:t>​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861" y="419515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030803" y="5493681"/>
            <a:ext cx="834459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trabalhadores envolvidos em atividades de soldagem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ivagem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merilhamento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corte ou outras que possam gerar fontes de ignição tais como aquecimento, centelha ou chama adequadas. .​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060085" y="864598"/>
            <a:ext cx="1227641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Critérios para aceitação: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Deve ser depositado certificado de treinamento Trabalho a quente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Carga horária / Validade / Conteúdo Programático conforme NR 34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Data e local de realização do treinamento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Indicação e identificação do Instrutor 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68ED215-B81A-69E8-A041-E5C0D407258D}"/>
              </a:ext>
            </a:extLst>
          </p:cNvPr>
          <p:cNvSpPr txBox="1"/>
          <p:nvPr/>
        </p:nvSpPr>
        <p:spPr>
          <a:xfrm>
            <a:off x="11060085" y="4771796"/>
            <a:ext cx="12276416" cy="741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Montserrat" pitchFamily="2" charset="0"/>
              </a:rPr>
              <a:t>Conteúdo Programático: 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4.2.1 Atividade com Solda – Riscos e Formas de Prevenção: </a:t>
            </a:r>
          </a:p>
          <a:p>
            <a:endParaRPr lang="pt-BR" sz="2800" dirty="0">
              <a:solidFill>
                <a:schemeClr val="bg1"/>
              </a:solidFill>
              <a:latin typeface="Montserrat" pitchFamily="2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Riscos da Solda Elétrica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Radiações Não Ionizante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Gases e Fumos Metálico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Máquinas de Solda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Cabos de Sold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Eletrodos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Circuito de Corrente de Sold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Riscos nas Soldas com Eletrodos Especiais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Riscos nas Soldas com Processos Especiais (Arco Submerso,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Mig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,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Mag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,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Tig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)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Riscos na Operação de </a:t>
            </a:r>
            <a:r>
              <a:rPr lang="pt-BR" sz="2800" dirty="0" err="1">
                <a:solidFill>
                  <a:schemeClr val="bg1"/>
                </a:solidFill>
                <a:latin typeface="Montserrat" pitchFamily="2" charset="0"/>
              </a:rPr>
              <a:t>Goivagem</a:t>
            </a: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EPI e EPC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chemeClr val="bg1"/>
                </a:solidFill>
                <a:latin typeface="Montserrat" pitchFamily="2" charset="0"/>
              </a:rPr>
              <a:t> Proteção Elétrica - Quadros, Disjuntores e Cabos de Alimentação </a:t>
            </a:r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68F1D6B1-573A-D461-19D5-13B69A00806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CC4C25C1-8BC5-2C95-34B0-F0AB1ECB05C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94836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6D7E4-F605-E8BE-BF39-A235EC8C6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4630258B-1EC5-CAE3-8ED1-048590C0B788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E3EA9EF1-5199-6153-6B3B-6E2875C1380C}"/>
              </a:ext>
            </a:extLst>
          </p:cNvPr>
          <p:cNvSpPr/>
          <p:nvPr/>
        </p:nvSpPr>
        <p:spPr>
          <a:xfrm>
            <a:off x="9800800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476C2AB6-DC84-CA7D-4E67-138A1AB64C47}"/>
              </a:ext>
            </a:extLst>
          </p:cNvPr>
          <p:cNvSpPr txBox="1"/>
          <p:nvPr/>
        </p:nvSpPr>
        <p:spPr>
          <a:xfrm>
            <a:off x="863837" y="2853141"/>
            <a:ext cx="752478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-34 Trabalho à Quente (observador)​​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8848D01-63DE-F555-1640-18383B0AD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861" y="419515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8C17F82-1176-EE12-4737-42F905D822C3}"/>
              </a:ext>
            </a:extLst>
          </p:cNvPr>
          <p:cNvSpPr txBox="1"/>
          <p:nvPr/>
        </p:nvSpPr>
        <p:spPr>
          <a:xfrm>
            <a:off x="1030803" y="5493681"/>
            <a:ext cx="834459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trabalhadores envolvidos em atividades de soldagem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ivagem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pt-BR" sz="3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merilhamento</a:t>
            </a: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corte ou outras que possam gerar fontes de ignição tais como aquecimento, centelha ou chama adequadas. .​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A93862E5-5C1E-CE43-4892-5B9F3B863F63}"/>
              </a:ext>
            </a:extLst>
          </p:cNvPr>
          <p:cNvSpPr txBox="1"/>
          <p:nvPr/>
        </p:nvSpPr>
        <p:spPr>
          <a:xfrm>
            <a:off x="10986933" y="937750"/>
            <a:ext cx="1227641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certificado de treinamento Trabalho a quente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/ Validade / Conteúdo Programático conforme NR 34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 ​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3E503295-DBA6-9E9E-BE73-5673F331039C}"/>
              </a:ext>
            </a:extLst>
          </p:cNvPr>
          <p:cNvSpPr txBox="1"/>
          <p:nvPr/>
        </p:nvSpPr>
        <p:spPr>
          <a:xfrm>
            <a:off x="10986933" y="5500962"/>
            <a:ext cx="1227641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4000" b="1">
                <a:solidFill>
                  <a:schemeClr val="bg1"/>
                </a:solidFill>
                <a:latin typeface="Montserrat" pitchFamily="2" charset="0"/>
              </a:defRPr>
            </a:lvl1pPr>
          </a:lstStyle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onteúdo Programático: 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indent="-74295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Classes de fogo; </a:t>
            </a:r>
          </a:p>
          <a:p>
            <a:pPr marL="742950" indent="-74295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Métodos de extin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Tipos de equipamentos de combate a incêndi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Sistemas de alarme e comunicação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Rotas de fuga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Equipamento de proteção individual e coletiva;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b="0" dirty="0">
                <a:latin typeface="Verdana" panose="020B0604030504040204" pitchFamily="34" charset="0"/>
                <a:ea typeface="Verdana" panose="020B0604030504040204" pitchFamily="34" charset="0"/>
              </a:rPr>
              <a:t>  Práticas de prevenção e combate a incêndio. </a:t>
            </a:r>
          </a:p>
        </p:txBody>
      </p:sp>
      <p:pic>
        <p:nvPicPr>
          <p:cNvPr id="6" name="Imagem 5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1884F3B-3F2E-271E-34D0-28A3C3C3459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909958EA-41D3-9824-73E2-D56480A57CA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63384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04013F1-13D0-1FE5-43AA-5F80CBD89E52}"/>
              </a:ext>
            </a:extLst>
          </p:cNvPr>
          <p:cNvSpPr/>
          <p:nvPr/>
        </p:nvSpPr>
        <p:spPr>
          <a:xfrm>
            <a:off x="13052865" y="0"/>
            <a:ext cx="11324785" cy="13716000"/>
          </a:xfrm>
          <a:prstGeom prst="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Seta: para a Direita Listrada 10">
            <a:extLst>
              <a:ext uri="{FF2B5EF4-FFF2-40B4-BE49-F238E27FC236}">
                <a16:creationId xmlns:a16="http://schemas.microsoft.com/office/drawing/2014/main" id="{407066BD-5BF7-5BBF-9F09-DD1208C953D7}"/>
              </a:ext>
            </a:extLst>
          </p:cNvPr>
          <p:cNvSpPr/>
          <p:nvPr/>
        </p:nvSpPr>
        <p:spPr>
          <a:xfrm>
            <a:off x="19984739" y="9863219"/>
            <a:ext cx="890758" cy="614500"/>
          </a:xfrm>
          <a:prstGeom prst="striped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439A2265-6CF7-2DA5-D79E-87F2989E0462}"/>
              </a:ext>
            </a:extLst>
          </p:cNvPr>
          <p:cNvSpPr/>
          <p:nvPr/>
        </p:nvSpPr>
        <p:spPr>
          <a:xfrm>
            <a:off x="9800800" y="1"/>
            <a:ext cx="9293264" cy="13716000"/>
          </a:xfrm>
          <a:prstGeom prst="roundRect">
            <a:avLst/>
          </a:prstGeom>
          <a:solidFill>
            <a:srgbClr val="043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632002" y="1620844"/>
            <a:ext cx="86278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5 - TRABALHO EM ALTURA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565533" y="4048929"/>
            <a:ext cx="8344592" cy="8463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é este documento?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 Norma estabelece os requisitos e as medidas de prevenção para o trabalho em altura, envolvendo o planejamento, a organização e a execução, de forma a garantir a segurança e a saúde dos trabalhadores envolvidos direta ou indiretamente com esta atividade.​</a:t>
            </a:r>
          </a:p>
          <a:p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uso de escada individual, será necessário capacitação conforme o novo Anexo III da NR-35 (vigente a partir de 02 janeiro de 2026), podendo ser mencionada no certificado, ou um certificado a parte.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B1B72F-C43F-D47F-10DB-6A0BE3DD6B77}"/>
              </a:ext>
            </a:extLst>
          </p:cNvPr>
          <p:cNvSpPr txBox="1"/>
          <p:nvPr/>
        </p:nvSpPr>
        <p:spPr>
          <a:xfrm>
            <a:off x="11033421" y="1963647"/>
            <a:ext cx="1174612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a NR 35 – Trabalho em Altura (Capacitação).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02 (dois) anos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 e identificação do Instrutor</a:t>
            </a:r>
          </a:p>
        </p:txBody>
      </p:sp>
      <p:graphicFrame>
        <p:nvGraphicFramePr>
          <p:cNvPr id="9" name="Diagrama 8">
            <a:extLst>
              <a:ext uri="{FF2B5EF4-FFF2-40B4-BE49-F238E27FC236}">
                <a16:creationId xmlns:a16="http://schemas.microsoft.com/office/drawing/2014/main" id="{21270A7C-D57D-CC76-D208-99562F856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4037177"/>
              </p:ext>
            </p:extLst>
          </p:nvPr>
        </p:nvGraphicFramePr>
        <p:xfrm>
          <a:off x="11939980" y="4682364"/>
          <a:ext cx="12978643" cy="9718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Seta: Curva para a Direita 9">
            <a:extLst>
              <a:ext uri="{FF2B5EF4-FFF2-40B4-BE49-F238E27FC236}">
                <a16:creationId xmlns:a16="http://schemas.microsoft.com/office/drawing/2014/main" id="{117C3204-D65A-1FD3-3A7B-84ACBCEBA85E}"/>
              </a:ext>
            </a:extLst>
          </p:cNvPr>
          <p:cNvSpPr/>
          <p:nvPr/>
        </p:nvSpPr>
        <p:spPr>
          <a:xfrm rot="20724807">
            <a:off x="10759609" y="8408119"/>
            <a:ext cx="993534" cy="1735128"/>
          </a:xfrm>
          <a:prstGeom prst="curved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D1830FC6-CDC7-C6DD-A83E-F77169D22E72}"/>
              </a:ext>
            </a:extLst>
          </p:cNvPr>
          <p:cNvSpPr/>
          <p:nvPr/>
        </p:nvSpPr>
        <p:spPr>
          <a:xfrm>
            <a:off x="21032406" y="8777454"/>
            <a:ext cx="2895210" cy="28568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A6ED05E-968B-418A-2CDC-28B129438217}"/>
              </a:ext>
            </a:extLst>
          </p:cNvPr>
          <p:cNvSpPr txBox="1"/>
          <p:nvPr/>
        </p:nvSpPr>
        <p:spPr>
          <a:xfrm>
            <a:off x="20816799" y="9604638"/>
            <a:ext cx="32682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84A67176-756B-D24D-51E8-5F01F4529D4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4837E9A0-A913-B02C-28F7-28AED85EE6C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38848D01-63DE-F555-1640-18383B0AD5F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2002" y="2944283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36176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581786" y="1785026"/>
            <a:ext cx="85680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5 - TRABALHO EM ALTUR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19466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D4E589C-036E-2DCF-8560-8C046D86B239}"/>
              </a:ext>
            </a:extLst>
          </p:cNvPr>
          <p:cNvSpPr txBox="1"/>
          <p:nvPr/>
        </p:nvSpPr>
        <p:spPr>
          <a:xfrm>
            <a:off x="1575281" y="3815667"/>
            <a:ext cx="2082415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​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, no mínimo, incluir: normas e regulamentos aplicáveis ao trabalho em altura; 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álise de risco e condições impeditivas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scos potenciais inerentes ao trabalho em altura e medidas de prevenção e controle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stemas, equipamentos e procedimentos de proteção coletiva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quipamentos de proteção individual para trabalho em altura: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eção, inspeção, conservação e limitação de uso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cidentes típicos em trabalhos em altura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dutas em emergências, incluindo noções de técnicas de resgate e de primeiros socorros. </a:t>
            </a:r>
            <a:r>
              <a:rPr lang="pt-BR" sz="3200" dirty="0">
                <a:solidFill>
                  <a:schemeClr val="bg1"/>
                </a:solidFill>
                <a:latin typeface="Montserrat" pitchFamily="2" charset="0"/>
              </a:rPr>
              <a:t>​</a:t>
            </a:r>
            <a:endParaRPr lang="pt-BR" sz="3200" dirty="0">
              <a:solidFill>
                <a:srgbClr val="000000"/>
              </a:solidFill>
              <a:latin typeface="Montserrat" pitchFamily="2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0FE924A-5BA0-B08A-1128-846DD910AA1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FB7B53B1-D0ED-273D-6DA7-E6E98F0F650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F50E245-9B17-3EE4-6549-BB13E2E61D5D}"/>
              </a:ext>
            </a:extLst>
          </p:cNvPr>
          <p:cNvSpPr txBox="1"/>
          <p:nvPr/>
        </p:nvSpPr>
        <p:spPr>
          <a:xfrm>
            <a:off x="1498085" y="9277749"/>
            <a:ext cx="2082415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uso de escada individual</a:t>
            </a:r>
          </a:p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 contemplando uso seguro de escada;​</a:t>
            </a:r>
          </a:p>
          <a:p>
            <a:pPr marL="571500" indent="-571500">
              <a:buFont typeface="Courier New" panose="02070309020205020404" pitchFamily="49" charset="0"/>
              <a:buChar char="o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pacitação conforme item 35.4 da NR-35. ​</a:t>
            </a:r>
          </a:p>
        </p:txBody>
      </p:sp>
    </p:spTree>
    <p:extLst>
      <p:ext uri="{BB962C8B-B14F-4D97-AF65-F5344CB8AC3E}">
        <p14:creationId xmlns:p14="http://schemas.microsoft.com/office/powerpoint/2010/main" val="204419570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8406C-EA6B-88D7-9182-09FD382EA3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grupar 8"/>
          <p:cNvGrpSpPr/>
          <p:nvPr/>
        </p:nvGrpSpPr>
        <p:grpSpPr>
          <a:xfrm>
            <a:off x="-3452162" y="-3830028"/>
            <a:ext cx="28543402" cy="22598093"/>
            <a:chOff x="-3452162" y="-3830028"/>
            <a:chExt cx="28543402" cy="22598093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82" y="11056694"/>
              <a:ext cx="7390591" cy="8032151"/>
              <a:chOff x="-93141" y="1481760"/>
              <a:chExt cx="6583680" cy="4499147"/>
            </a:xfrm>
          </p:grpSpPr>
          <p:sp>
            <p:nvSpPr>
              <p:cNvPr id="15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-93141" y="1481760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6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272817" y="2061273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3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4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54A521F0-17E6-4D28-5403-4723BE88D02A}"/>
              </a:ext>
            </a:extLst>
          </p:cNvPr>
          <p:cNvSpPr txBox="1"/>
          <p:nvPr/>
        </p:nvSpPr>
        <p:spPr>
          <a:xfrm>
            <a:off x="1453770" y="1679144"/>
            <a:ext cx="112013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 35 – Capacitação da Equipe de Salvament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D96A0D3-994D-0C13-3413-246230048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786" y="3043072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C2B44CC3-1AB3-E571-F28A-53A14213384B}"/>
              </a:ext>
            </a:extLst>
          </p:cNvPr>
          <p:cNvSpPr txBox="1"/>
          <p:nvPr/>
        </p:nvSpPr>
        <p:spPr>
          <a:xfrm>
            <a:off x="389401" y="3932661"/>
            <a:ext cx="12265768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5.7.1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organização deve estabelecer, implementar e manter procedimentos de respostas aos cenários de emergências de trabalho em altura, considerando, além do disposto na NR-01: </a:t>
            </a: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) os perigos associados à operação de resgate; </a:t>
            </a: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) a equipe de emergência e salvamento necessária e o seu dimensionamento; </a:t>
            </a: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) o tempo estimado para o resgate; e </a:t>
            </a:r>
          </a:p>
          <a:p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) as técnicas apropriadas, equipamentos pessoais e/ou coletivos específicos e sistema de resgate disponível, de forma a reduzir o tempo de suspensão inerte do trabalhador e sua exposição aos perigos existentes.</a:t>
            </a: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5.7.3.1</a:t>
            </a:r>
            <a:r>
              <a:rPr lang="pt-BR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Quando realizado por equipe interna, a organização deve estabelecer o conteúdo e carga horária da capacitação em função dos cenários de emergência.</a:t>
            </a:r>
            <a:endParaRPr lang="pt-BR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C085595-8867-8479-2325-35AD040F2684}"/>
              </a:ext>
            </a:extLst>
          </p:cNvPr>
          <p:cNvSpPr txBox="1"/>
          <p:nvPr/>
        </p:nvSpPr>
        <p:spPr>
          <a:xfrm>
            <a:off x="13112474" y="4338129"/>
            <a:ext cx="1111544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ve ser depositado a NR 35 – Capacitação da Equipe de Salvament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 02 (dois) anos.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, identificação e assinatura do Instrut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colaborador treinado.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262D4059-5124-F195-D2A1-87E58D674C7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pic>
        <p:nvPicPr>
          <p:cNvPr id="8" name="Imagem 7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43A1D196-5B66-4ED2-A1F1-EADCCEDB035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07759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FC003-D6D4-1BB1-4D8C-4198D46CF9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D02AC610-51DD-E694-BE29-05B3AC9BF2EC}"/>
              </a:ext>
            </a:extLst>
          </p:cNvPr>
          <p:cNvSpPr txBox="1"/>
          <p:nvPr/>
        </p:nvSpPr>
        <p:spPr>
          <a:xfrm>
            <a:off x="1121000" y="1279982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s/Comprovação de Experiênci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8E550F9-5994-0697-F5DA-7D0E5FC6D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674" y="220887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D82E046E-C9B2-D78F-0ACC-51CCE37CFFF3}"/>
              </a:ext>
            </a:extLst>
          </p:cNvPr>
          <p:cNvSpPr txBox="1"/>
          <p:nvPr/>
        </p:nvSpPr>
        <p:spPr>
          <a:xfrm>
            <a:off x="563916" y="3524629"/>
            <a:ext cx="1111544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 operação em máquinas/equipamentos os critérios de aceitação para certificados serão os mencionados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 caso de não possuir certificado será aceito a CTPS com nome na função e mínimo 2 anos de experiência comprovada. 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83A9011-E07E-F145-6A0C-2D081217F0A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EA68F625-ABAC-3BBB-41B7-63AD0F21FF4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055F267E-955C-DEAA-69BC-69C4C158FDE4}"/>
              </a:ext>
            </a:extLst>
          </p:cNvPr>
          <p:cNvSpPr txBox="1"/>
          <p:nvPr/>
        </p:nvSpPr>
        <p:spPr>
          <a:xfrm>
            <a:off x="12188825" y="3524629"/>
            <a:ext cx="11115444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para aceitação (Certificado):</a:t>
            </a:r>
          </a:p>
          <a:p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aluno e CPF/R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o equipamento/curso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e local de realização do treinamento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icação, identificação e assinatura do Instruto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do colaborador trein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eitar prazo de validade informado ou necessidade de reciclagem conforme normas internas/legais.</a:t>
            </a:r>
          </a:p>
        </p:txBody>
      </p:sp>
    </p:spTree>
    <p:extLst>
      <p:ext uri="{BB962C8B-B14F-4D97-AF65-F5344CB8AC3E}">
        <p14:creationId xmlns:p14="http://schemas.microsoft.com/office/powerpoint/2010/main" val="288270854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AC5E25-8AD5-25B6-1529-6801C5DDE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>
            <a:extLst>
              <a:ext uri="{FF2B5EF4-FFF2-40B4-BE49-F238E27FC236}">
                <a16:creationId xmlns:a16="http://schemas.microsoft.com/office/drawing/2014/main" id="{5F9CC74E-9BE8-1D26-9852-A7B119578A3C}"/>
              </a:ext>
            </a:extLst>
          </p:cNvPr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4063E861-89A8-3C57-FAF6-02E5342613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C24BCADF-8392-6896-6E16-8F84C2C2A603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C1F0EB3-EB9E-46F1-4469-2B6A168DFB1D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0E174A27-0E75-B8BE-634D-33247CDE38D9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84AB161B-C6A9-926E-4BED-875876404611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A5E70905-D0F5-ABF0-042A-0AB9D89A989D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43AEE7D3-92D7-FE43-96A7-A2891B07B05E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8A8735BB-8177-DC82-203C-DB5B5C7538BD}"/>
              </a:ext>
            </a:extLst>
          </p:cNvPr>
          <p:cNvSpPr txBox="1"/>
          <p:nvPr/>
        </p:nvSpPr>
        <p:spPr>
          <a:xfrm>
            <a:off x="1121000" y="1279982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 de Curso Profissionalizant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51176147-61FB-0D9C-21C9-076699DF6F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674" y="220887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C020F397-F804-FC15-46EB-32ACF55C50C5}"/>
              </a:ext>
            </a:extLst>
          </p:cNvPr>
          <p:cNvSpPr txBox="1"/>
          <p:nvPr/>
        </p:nvSpPr>
        <p:spPr>
          <a:xfrm>
            <a:off x="563916" y="2674043"/>
            <a:ext cx="25478509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dos obrigatórios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do aluno, CPF/RG, nome do curso, carga horária, datas, instituição emissora, CNPJ e assinatura responsável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stituição válida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NPJ ativo, atuação compatível com o curso e possibilidade de verificação (site/contato)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atibilidade com a função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rso pertinente à atividade exercida e, quando aplicável, em conformidade com </a:t>
            </a:r>
            <a:r>
              <a:rPr lang="pt-BR" sz="3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Rs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tenticidade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m rasuras ou inconsistências; certificados digitais com QR Code ou código de validação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idade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eitar prazo informado ou necessidade de reciclagem conforme normas internas/legais.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36804B1-6E93-A7D4-C605-0A04BE21142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E95F7DE0-97A1-1FE5-4264-53636D6CD81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7341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3987E7-A9CD-0CE4-CDDB-18473DD33A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>
            <a:extLst>
              <a:ext uri="{FF2B5EF4-FFF2-40B4-BE49-F238E27FC236}">
                <a16:creationId xmlns:a16="http://schemas.microsoft.com/office/drawing/2014/main" id="{9645778A-4DB7-D30F-2CA5-EB0B0B9E0335}"/>
              </a:ext>
            </a:extLst>
          </p:cNvPr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>
            <a:extLst>
              <a:ext uri="{FF2B5EF4-FFF2-40B4-BE49-F238E27FC236}">
                <a16:creationId xmlns:a16="http://schemas.microsoft.com/office/drawing/2014/main" id="{9AB2EA92-0C2E-7DEC-E6C0-3F141ACE1B62}"/>
              </a:ext>
            </a:extLst>
          </p:cNvPr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70F11861-0BC8-5558-CC3F-1DFBCAB20269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>
              <a:extLst>
                <a:ext uri="{FF2B5EF4-FFF2-40B4-BE49-F238E27FC236}">
                  <a16:creationId xmlns:a16="http://schemas.microsoft.com/office/drawing/2014/main" id="{697AF680-1750-FBD3-742A-00D77520BF57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A23633D0-39AC-1F32-2869-C65FD6B61BCA}"/>
              </a:ext>
            </a:extLst>
          </p:cNvPr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3108A8A3-6659-5E6B-E680-204186C4483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926B050C-7068-F232-58F3-ED4D6FFE2923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>
            <a:extLst>
              <a:ext uri="{FF2B5EF4-FFF2-40B4-BE49-F238E27FC236}">
                <a16:creationId xmlns:a16="http://schemas.microsoft.com/office/drawing/2014/main" id="{AFFCA2E9-9B77-D97E-44D9-ACF4E9C3C733}"/>
              </a:ext>
            </a:extLst>
          </p:cNvPr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2AD29BBA-A135-6B7A-5A3A-C0DEDD4C8E5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>
              <a:extLst>
                <a:ext uri="{FF2B5EF4-FFF2-40B4-BE49-F238E27FC236}">
                  <a16:creationId xmlns:a16="http://schemas.microsoft.com/office/drawing/2014/main" id="{6DB0A20C-ED91-E223-0C18-DC2B1C11DCFA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>
            <a:extLst>
              <a:ext uri="{FF2B5EF4-FFF2-40B4-BE49-F238E27FC236}">
                <a16:creationId xmlns:a16="http://schemas.microsoft.com/office/drawing/2014/main" id="{1F391768-4172-7F75-CB6C-93521F99F894}"/>
              </a:ext>
            </a:extLst>
          </p:cNvPr>
          <p:cNvSpPr/>
          <p:nvPr/>
        </p:nvSpPr>
        <p:spPr>
          <a:xfrm>
            <a:off x="10878401" y="2075181"/>
            <a:ext cx="12188825" cy="1064906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ntos importantes: 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forme a NR 01, o MEI/PP pode ser dispensado de elaborar o Programa de Controle Médico de Saúde Ocupacional (PCMSO) quando classificado em graus de risco 1 ou 2, ou por opção da contratante. No entanto, mesmo quando dispensado, a contratante direta deve assumir a responsabilidade pelo MEI/PP em seu próprio PCMSO, assegurando a realização de todos os exames médicos previstos. O ASO deve conter o nome e registro do médico responsável pelo PCMSO quando este for utilizado, o que é obrigatório no caso do MEI/PP estar sob o PCMSO da contratante. Isso garante que todos os exames médicos necessários sejam realizados e documentados adequadamente, conforme exigido pela regulamentação vigente. 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ferências Normativas: NR 01:Item 1.8.1 e 1.8.1.1</a:t>
            </a:r>
            <a:b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spensam o MEI/PP, ME e EPP de graus de risco 1 e 2 de elaborar o PCMSO, mas não da realização de exames médicos e emissão do ASO.NR 07 Item 7.5.19.1</a:t>
            </a:r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97A0808F-2453-C3AA-8927-D626443E69C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52A3A0D4-2DD4-634E-724B-C29637C4A02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F4AB4007-07D8-5AC0-8D0C-328AAE16583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525DCBE5-5B1A-420E-FEC5-DB6C0A064AD0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D1005B65-1A04-15D4-C7AB-9B31E564F129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31F8B233-E980-2838-957D-19BE563A18BF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E34338C7-3CEE-F238-1BFB-F736AEE35371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F34504E4-2498-F2F7-9EBB-C272BB186906}"/>
              </a:ext>
            </a:extLst>
          </p:cNvPr>
          <p:cNvSpPr txBox="1"/>
          <p:nvPr/>
        </p:nvSpPr>
        <p:spPr>
          <a:xfrm>
            <a:off x="10878401" y="368534"/>
            <a:ext cx="14088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00000"/>
                </a:solidFill>
                <a:latin typeface="Montserrat" pitchFamily="2" charset="0"/>
              </a:rPr>
              <a:t>PCM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BD7E6145-AA3D-28A3-3619-E6057892A9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05417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38408D-5668-497B-A2C8-EE71D77D11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91BE996B-9C91-0849-752B-24EC13A3108D}"/>
              </a:ext>
            </a:extLst>
          </p:cNvPr>
          <p:cNvSpPr txBox="1"/>
          <p:nvPr/>
        </p:nvSpPr>
        <p:spPr>
          <a:xfrm>
            <a:off x="1475459" y="1784344"/>
            <a:ext cx="143985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teira de identificação do conselho de classe (exemplo: CREA, CRM, COREN, </a:t>
            </a:r>
            <a:r>
              <a:rPr lang="pt-BR" sz="40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tc</a:t>
            </a:r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;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3B71CDA-B4C3-4D04-4FF3-018428F6CD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3BEEA8B6-D909-E45D-AC93-A61D55C8207A}"/>
              </a:ext>
            </a:extLst>
          </p:cNvPr>
          <p:cNvSpPr txBox="1"/>
          <p:nvPr/>
        </p:nvSpPr>
        <p:spPr>
          <a:xfrm>
            <a:off x="1500318" y="4121445"/>
            <a:ext cx="2147290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Carteira de identificação do conselho de classe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cumento obrigatório, válido e vigente, emitido pelo conselho profissional competente (ex.: CREA, CRM, COREN), comprovando habilitação legal para o exercício da função.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712B2917-52DC-7C6F-6761-AB13E4DD4CF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2C57D07C-BDD2-C2CC-68DA-22847D242E0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62741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8AEB3E-FB84-8D2C-115D-697BCC53A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1BBD0981-9BAF-10E6-54CD-C92FEEBBBC55}"/>
              </a:ext>
            </a:extLst>
          </p:cNvPr>
          <p:cNvSpPr txBox="1"/>
          <p:nvPr/>
        </p:nvSpPr>
        <p:spPr>
          <a:xfrm>
            <a:off x="1518504" y="1608905"/>
            <a:ext cx="1011913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teira de vacinação (Febre amarela, hepatite B e dupla adulto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E7B0F83-332E-F7F8-0131-72693E566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1082A4F-BED7-83B7-BB35-F9B2C8008A99}"/>
              </a:ext>
            </a:extLst>
          </p:cNvPr>
          <p:cNvSpPr txBox="1"/>
          <p:nvPr/>
        </p:nvSpPr>
        <p:spPr>
          <a:xfrm>
            <a:off x="1678038" y="3968917"/>
            <a:ext cx="20724761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6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Carteira de vacinação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cumento que comprove esquema vacinal completo e vigente, de acordo com os riscos ocupacionais da função, contemplando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bre amarela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patite B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upla adult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3CFAE68-F512-2CBE-EAAA-863F531D89F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439F3129-F245-124B-B6F9-620B69B6FD8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788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2379C-D3AF-3AD5-22ED-0ABC767931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Agrupar 15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17" name="Imagem 16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2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2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20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21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DF4085AF-5CE5-66C9-ED08-1B0B4171CAB3}"/>
              </a:ext>
            </a:extLst>
          </p:cNvPr>
          <p:cNvSpPr txBox="1"/>
          <p:nvPr/>
        </p:nvSpPr>
        <p:spPr>
          <a:xfrm>
            <a:off x="914965" y="1387771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 de Malária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3092E30-8D81-D043-5444-D72A0081ED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0074" y="2406498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B408002-06C2-C69A-BE06-57E2F685AA7C}"/>
              </a:ext>
            </a:extLst>
          </p:cNvPr>
          <p:cNvSpPr txBox="1"/>
          <p:nvPr/>
        </p:nvSpPr>
        <p:spPr>
          <a:xfrm>
            <a:off x="914965" y="3245840"/>
            <a:ext cx="23413203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3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Exame de malária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rovação de exame laboratorial válido, com resultado negativo, realizado dentro do prazo estabelecido, conforme exigência legal, contratual ou risco ocupacional da atividade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de validação do exame:</a:t>
            </a:r>
            <a:b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e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boratorial oficial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(ex.: gota espessa ou teste rápido validad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ultado negativ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laramente identificad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realização dentro do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azo de validade definido</a:t>
            </a: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ela empresa, contrato ou procedimento intern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 trabalhador (nome completo e documento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o laboratório emissor (nome, CNPJ e assinatura/responsável técnico)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E5452207-1755-D5A2-1FC6-40FB684D49F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43BD427-6BB9-E85C-91AE-F74E28E7BAB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10932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84EF0-5CE9-2DD3-39E9-7CA5FF55A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4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5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2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3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B625070-A54D-43BA-9F4E-E361F3FB47A4}"/>
              </a:ext>
            </a:extLst>
          </p:cNvPr>
          <p:cNvSpPr txBox="1"/>
          <p:nvPr/>
        </p:nvSpPr>
        <p:spPr>
          <a:xfrm>
            <a:off x="1121000" y="1674958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ção Segura (prático) off </a:t>
            </a:r>
            <a:r>
              <a:rPr lang="pt-BR" sz="40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oad</a:t>
            </a:r>
            <a:endParaRPr lang="pt-BR" sz="4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4E241A1-986A-7DFD-0AA7-DC40F8F2A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109" y="2693685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3CED9EF1-7C7A-3229-C6B8-D9683B2CFC6E}"/>
              </a:ext>
            </a:extLst>
          </p:cNvPr>
          <p:cNvSpPr txBox="1"/>
          <p:nvPr/>
        </p:nvSpPr>
        <p:spPr>
          <a:xfrm>
            <a:off x="1121000" y="3770159"/>
            <a:ext cx="20824153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</a:rPr>
              <a:t>✔ Direção Segura (prático):</a:t>
            </a:r>
            <a:br>
              <a:rPr lang="pt-BR" sz="3200" dirty="0">
                <a:solidFill>
                  <a:schemeClr val="bg1"/>
                </a:solidFill>
              </a:rPr>
            </a:br>
            <a:r>
              <a:rPr lang="pt-BR" sz="3200" dirty="0">
                <a:solidFill>
                  <a:schemeClr val="bg1"/>
                </a:solidFill>
              </a:rPr>
              <a:t>Treinamento prático de direção segura, com avaliação presencial da condução veicular, ministrado por instrutor habilitado, comprovando aptidão do condutor para o exercício da atividade.</a:t>
            </a:r>
            <a:br>
              <a:rPr lang="pt-BR" sz="3200" dirty="0">
                <a:solidFill>
                  <a:schemeClr val="bg1"/>
                </a:solidFill>
              </a:rPr>
            </a:br>
            <a:br>
              <a:rPr lang="pt-BR" sz="3200" dirty="0">
                <a:solidFill>
                  <a:schemeClr val="bg1"/>
                </a:solidFill>
              </a:rPr>
            </a:br>
            <a:r>
              <a:rPr lang="pt-BR" sz="3200" b="1" dirty="0">
                <a:solidFill>
                  <a:schemeClr val="bg1"/>
                </a:solidFill>
              </a:rPr>
              <a:t>Critérios mínimos de aceite:</a:t>
            </a:r>
            <a:endParaRPr lang="pt-BR" sz="32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Nome completo do participan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Identificação do instrutor ou institui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Descrição da </a:t>
            </a:r>
            <a:r>
              <a:rPr lang="pt-BR" sz="3200" b="1" dirty="0">
                <a:solidFill>
                  <a:schemeClr val="bg1"/>
                </a:solidFill>
              </a:rPr>
              <a:t>atividade prática realizada</a:t>
            </a:r>
            <a:endParaRPr lang="pt-BR" sz="32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Data e local do treinament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Avaliação com </a:t>
            </a:r>
            <a:r>
              <a:rPr lang="pt-BR" sz="3200" b="1" dirty="0">
                <a:solidFill>
                  <a:schemeClr val="bg1"/>
                </a:solidFill>
              </a:rPr>
              <a:t>resultado aprovado</a:t>
            </a:r>
            <a:endParaRPr lang="pt-BR" sz="32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</a:rPr>
              <a:t>Assinatura ou validação do responsável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5" name="Imagem 4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1ED8E39F-218F-117E-1A81-CD83803AE9C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15F07D22-4757-1EB2-845C-C528E441AC5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29687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990E1-BAA8-F354-2B67-F538C24D4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grupar 8"/>
          <p:cNvGrpSpPr/>
          <p:nvPr/>
        </p:nvGrpSpPr>
        <p:grpSpPr>
          <a:xfrm>
            <a:off x="-3452158" y="-3830028"/>
            <a:ext cx="28543398" cy="21806958"/>
            <a:chOff x="-3452158" y="-3830028"/>
            <a:chExt cx="28543398" cy="21806958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-659220" y="-58610"/>
              <a:ext cx="25293156" cy="13774610"/>
            </a:xfrm>
            <a:prstGeom prst="rect">
              <a:avLst/>
            </a:prstGeom>
          </p:spPr>
        </p:pic>
        <p:grpSp>
          <p:nvGrpSpPr>
            <p:cNvPr id="13" name="Agrupar 12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-3131378" y="10265559"/>
              <a:ext cx="7390591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  <p:grpSp>
          <p:nvGrpSpPr>
            <p:cNvPr id="14" name="Agrupar 13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5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6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312A486C-875D-2E9B-0198-94457E11A98B}"/>
              </a:ext>
            </a:extLst>
          </p:cNvPr>
          <p:cNvSpPr txBox="1"/>
          <p:nvPr/>
        </p:nvSpPr>
        <p:spPr>
          <a:xfrm>
            <a:off x="1432929" y="2529170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efe Boletim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D20B20B9-03BA-8191-A151-474A9152F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A5F8864F-85B6-703A-CD48-84F2102CAAD8}"/>
              </a:ext>
            </a:extLst>
          </p:cNvPr>
          <p:cNvSpPr txBox="1"/>
          <p:nvPr/>
        </p:nvSpPr>
        <p:spPr>
          <a:xfrm>
            <a:off x="1678038" y="4315337"/>
            <a:ext cx="20824153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✔ Chefe de Boletim: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rtificado ou documento que comprove treinamento e habilitação para a função de Chefe de Boletim, emitido por instituição ou empresa responsável, com definição clara das atribuições, carga horária e validade.</a:t>
            </a: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ção da instituição ou empresa emissor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crição da função de </a:t>
            </a:r>
            <a:r>
              <a:rPr lang="pt-BR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efe de Boletim</a:t>
            </a:r>
            <a:endParaRPr lang="pt-BR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ga horária ou registro de capacita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de realizaçã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inatura ou validação do responsável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93E2EC39-C1AE-C96B-88A1-B645EEAAF2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2ABE5E47-EDC9-6D6D-EFC5-4E27E97352C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13328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E52F5-EC27-A404-B653-89E97EE9C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>
            <a:extLst>
              <a:ext uri="{FF2B5EF4-FFF2-40B4-BE49-F238E27FC236}">
                <a16:creationId xmlns:a16="http://schemas.microsoft.com/office/drawing/2014/main" id="{0A5B722A-6CE6-5DB3-B52A-BAFB3C57CF2D}"/>
              </a:ext>
            </a:extLst>
          </p:cNvPr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B17802FD-BCBE-F57D-EFF4-796ED428C3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AD4A1B02-A4D1-EF60-9B09-49C74FC19EEA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BC877407-636B-FE64-A848-63833ACDF6BC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5862AE05-D2E9-69E4-24EB-364AA7EF58C7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CD24ED62-B651-97A1-D7A9-C883DD6A6EDE}"/>
              </a:ext>
            </a:extLst>
          </p:cNvPr>
          <p:cNvSpPr txBox="1"/>
          <p:nvPr/>
        </p:nvSpPr>
        <p:spPr>
          <a:xfrm>
            <a:off x="1432929" y="2529170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Integração Rumo (ICEC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C516C8F-CADA-7BE7-6426-7DFB1E8EF7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2EFD07B4-F9F5-2097-3CB5-7BBD0A5E0811}"/>
              </a:ext>
            </a:extLst>
          </p:cNvPr>
          <p:cNvSpPr txBox="1"/>
          <p:nvPr/>
        </p:nvSpPr>
        <p:spPr>
          <a:xfrm>
            <a:off x="1355647" y="4323413"/>
            <a:ext cx="12314409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0" name="Imagem 9" descr="Código QR&#10;&#10;O conteúdo gerado por IA pode estar incorreto.">
            <a:extLst>
              <a:ext uri="{FF2B5EF4-FFF2-40B4-BE49-F238E27FC236}">
                <a16:creationId xmlns:a16="http://schemas.microsoft.com/office/drawing/2014/main" id="{E9319026-2955-2626-EF78-49FFA6ED5E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72289" y="2883113"/>
            <a:ext cx="12111678" cy="8566534"/>
          </a:xfrm>
          <a:prstGeom prst="rect">
            <a:avLst/>
          </a:prstGeom>
        </p:spPr>
      </p:pic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87AFC63-F1BE-9324-C7DA-D145D799827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8F2B3F0F-15B5-D7C1-644D-8BF3049AE87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E3E7801B-9787-B1DC-E670-9E2EF1BD95F4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EF307F45-C857-D62B-1E2D-60C1A38E74F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5273925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7 Regras da Vida (ICEC)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2314409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15" name="Imagem 14" descr="Texto, Código QR&#10;&#10;O conteúdo gerado por IA pode estar incorreto.">
            <a:extLst>
              <a:ext uri="{FF2B5EF4-FFF2-40B4-BE49-F238E27FC236}">
                <a16:creationId xmlns:a16="http://schemas.microsoft.com/office/drawing/2014/main" id="{9C02E0AE-4C18-E8F2-CDAA-44FE1DCA01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36402" y="2965444"/>
            <a:ext cx="11720255" cy="8344654"/>
          </a:xfrm>
          <a:prstGeom prst="rect">
            <a:avLst/>
          </a:prstGeom>
        </p:spPr>
      </p:pic>
      <p:sp>
        <p:nvSpPr>
          <p:cNvPr id="21" name="Retângulo 20"/>
          <p:cNvSpPr/>
          <p:nvPr/>
        </p:nvSpPr>
        <p:spPr>
          <a:xfrm>
            <a:off x="14312348" y="6062870"/>
            <a:ext cx="3200400" cy="4969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/>
          <p:cNvSpPr/>
          <p:nvPr/>
        </p:nvSpPr>
        <p:spPr>
          <a:xfrm>
            <a:off x="14701832" y="6623248"/>
            <a:ext cx="1488484" cy="4108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002446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ROF (ICEC), RO II (ICEC), RO III (ICEC), </a:t>
            </a:r>
          </a:p>
          <a:p>
            <a:r>
              <a:rPr lang="pt-BR" sz="4000" b="1" dirty="0">
                <a:latin typeface="Montserrat" pitchFamily="2" charset="0"/>
              </a:rPr>
              <a:t>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8" y="4323413"/>
            <a:ext cx="9617048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O módulo do curso deve coincidir com o módulo cadastrado.</a:t>
            </a:r>
          </a:p>
          <a:p>
            <a:endParaRPr lang="pt-BR" sz="4400" dirty="0">
              <a:solidFill>
                <a:schemeClr val="bg1"/>
              </a:solidFill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50314" y="2912913"/>
            <a:ext cx="11686715" cy="8310553"/>
          </a:xfrm>
          <a:prstGeom prst="rect">
            <a:avLst/>
          </a:prstGeom>
        </p:spPr>
      </p:pic>
      <p:sp>
        <p:nvSpPr>
          <p:cNvPr id="15" name="Retângulo 14"/>
          <p:cNvSpPr/>
          <p:nvPr/>
        </p:nvSpPr>
        <p:spPr>
          <a:xfrm>
            <a:off x="14232835" y="6081131"/>
            <a:ext cx="3538330" cy="3592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14686117" y="6641510"/>
            <a:ext cx="1543955" cy="2970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5388391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32929" y="2529170"/>
            <a:ext cx="1684536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Primeiros Socorros</a:t>
            </a:r>
          </a:p>
          <a:p>
            <a:r>
              <a:rPr lang="pt-BR" sz="4000" b="1" dirty="0">
                <a:latin typeface="Montserrat" pitchFamily="2" charset="0"/>
              </a:rPr>
              <a:t>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007435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ta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 err="1">
                <a:latin typeface="Verdana" panose="020B0604030504040204" pitchFamily="34" charset="0"/>
                <a:ea typeface="Verdana" panose="020B0604030504040204" pitchFamily="34" charset="0"/>
              </a:rPr>
              <a:t>Qrcode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de autenticidade (via ICEC);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64581" y="2892965"/>
            <a:ext cx="11463457" cy="8244923"/>
          </a:xfrm>
          <a:prstGeom prst="rect">
            <a:avLst/>
          </a:prstGeom>
        </p:spPr>
      </p:pic>
      <p:sp>
        <p:nvSpPr>
          <p:cNvPr id="22" name="Retângulo 21"/>
          <p:cNvSpPr/>
          <p:nvPr/>
        </p:nvSpPr>
        <p:spPr>
          <a:xfrm>
            <a:off x="14272591" y="6019839"/>
            <a:ext cx="4432852" cy="4205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tângulo 22"/>
          <p:cNvSpPr/>
          <p:nvPr/>
        </p:nvSpPr>
        <p:spPr>
          <a:xfrm>
            <a:off x="14840980" y="6580217"/>
            <a:ext cx="1488484" cy="4108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287181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DB9EF-6B33-8A2F-DA8C-FD401041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/>
          <p:cNvGrpSpPr/>
          <p:nvPr/>
        </p:nvGrpSpPr>
        <p:grpSpPr>
          <a:xfrm>
            <a:off x="11430000" y="-3830028"/>
            <a:ext cx="13661240" cy="17546028"/>
            <a:chOff x="11430000" y="-3830028"/>
            <a:chExt cx="13661240" cy="17546028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007283D9-5D37-4E4B-1BDE-474178A162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613" t="2181" b="10590"/>
            <a:stretch/>
          </p:blipFill>
          <p:spPr>
            <a:xfrm>
              <a:off x="11430000" y="-58610"/>
              <a:ext cx="13203936" cy="13774610"/>
            </a:xfrm>
            <a:prstGeom prst="rect">
              <a:avLst/>
            </a:prstGeom>
          </p:spPr>
        </p:pic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683921FA-AB39-23DC-C704-1D9D05ECAE15}"/>
                </a:ext>
              </a:extLst>
            </p:cNvPr>
            <p:cNvGrpSpPr/>
            <p:nvPr/>
          </p:nvGrpSpPr>
          <p:grpSpPr>
            <a:xfrm rot="16200000">
              <a:off x="17989719" y="-4760658"/>
              <a:ext cx="6170892" cy="8032151"/>
              <a:chOff x="611617" y="1481762"/>
              <a:chExt cx="6583680" cy="4499147"/>
            </a:xfrm>
          </p:grpSpPr>
          <p:sp>
            <p:nvSpPr>
              <p:cNvPr id="17" name="Retângulo Arredondado 23">
                <a:extLst>
                  <a:ext uri="{FF2B5EF4-FFF2-40B4-BE49-F238E27FC236}">
                    <a16:creationId xmlns:a16="http://schemas.microsoft.com/office/drawing/2014/main" id="{140684E3-1C55-591E-C8B5-7A92CB6EEB9B}"/>
                  </a:ext>
                </a:extLst>
              </p:cNvPr>
              <p:cNvSpPr/>
              <p:nvPr/>
            </p:nvSpPr>
            <p:spPr>
              <a:xfrm>
                <a:off x="611617" y="1481762"/>
                <a:ext cx="6583680" cy="4499147"/>
              </a:xfrm>
              <a:prstGeom prst="roundRect">
                <a:avLst/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  <p:sp>
            <p:nvSpPr>
              <p:cNvPr id="18" name="Retângulo Arredondado 24">
                <a:extLst>
                  <a:ext uri="{FF2B5EF4-FFF2-40B4-BE49-F238E27FC236}">
                    <a16:creationId xmlns:a16="http://schemas.microsoft.com/office/drawing/2014/main" id="{2231533F-C37E-2B58-A5DA-4BE2E68EC554}"/>
                  </a:ext>
                </a:extLst>
              </p:cNvPr>
              <p:cNvSpPr/>
              <p:nvPr/>
            </p:nvSpPr>
            <p:spPr>
              <a:xfrm>
                <a:off x="1204636" y="2061275"/>
                <a:ext cx="5397642" cy="3340120"/>
              </a:xfrm>
              <a:prstGeom prst="roundRect">
                <a:avLst>
                  <a:gd name="adj" fmla="val 12993"/>
                </a:avLst>
              </a:prstGeom>
              <a:noFill/>
              <a:ln w="25400">
                <a:gradFill>
                  <a:gsLst>
                    <a:gs pos="47000">
                      <a:srgbClr val="30A6E6"/>
                    </a:gs>
                    <a:gs pos="53000">
                      <a:srgbClr val="7AE365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99279"/>
                <a:endParaRPr lang="pt-BR" sz="872">
                  <a:solidFill>
                    <a:prstClr val="white"/>
                  </a:solidFill>
                  <a:latin typeface="Aptos" panose="02110004020202020204"/>
                </a:endParaRPr>
              </a:p>
            </p:txBody>
          </p:sp>
        </p:grp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08D740DA-4166-9EDA-D2E6-D84EA77925ED}"/>
              </a:ext>
            </a:extLst>
          </p:cNvPr>
          <p:cNvSpPr txBox="1"/>
          <p:nvPr/>
        </p:nvSpPr>
        <p:spPr>
          <a:xfrm>
            <a:off x="1473319" y="2063380"/>
            <a:ext cx="6826168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latin typeface="Montserrat" pitchFamily="2" charset="0"/>
              </a:rPr>
              <a:t>Primeiros Socorros </a:t>
            </a:r>
            <a:br>
              <a:rPr lang="pt-BR" sz="3200" b="1" dirty="0">
                <a:latin typeface="Montserrat" pitchFamily="2" charset="0"/>
              </a:rPr>
            </a:br>
            <a:r>
              <a:rPr lang="pt-BR" sz="2400" dirty="0">
                <a:latin typeface="Montserrat" pitchFamily="2" charset="0"/>
              </a:rPr>
              <a:t>(Outras instituições) </a:t>
            </a:r>
          </a:p>
          <a:p>
            <a:r>
              <a:rPr lang="pt-BR" sz="4000" b="1" dirty="0">
                <a:latin typeface="Montserrat" pitchFamily="2" charset="0"/>
              </a:rPr>
              <a:t>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BAE202-7CAE-3B0A-ACE2-69F570434B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038" y="3547897"/>
            <a:ext cx="2301735" cy="133434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8838B538-190A-5AFB-A82D-FC2C995F9733}"/>
              </a:ext>
            </a:extLst>
          </p:cNvPr>
          <p:cNvSpPr txBox="1"/>
          <p:nvPr/>
        </p:nvSpPr>
        <p:spPr>
          <a:xfrm>
            <a:off x="1355647" y="4323413"/>
            <a:ext cx="1231440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Documento padrão interno.</a:t>
            </a: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b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mínimos de aceite:</a:t>
            </a: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completo do participante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PF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Nome do curso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Validade;</a:t>
            </a:r>
          </a:p>
          <a:p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Carga horária: 8h</a:t>
            </a:r>
            <a:endParaRPr lang="pt-BR" sz="4400" dirty="0"/>
          </a:p>
        </p:txBody>
      </p:sp>
      <p:pic>
        <p:nvPicPr>
          <p:cNvPr id="11" name="Imagem 10" descr="Desenho com traços pretos em fundo branco e letras pretas&#10;&#10;O conteúdo gerado por IA pode estar incorreto.">
            <a:extLst>
              <a:ext uri="{FF2B5EF4-FFF2-40B4-BE49-F238E27FC236}">
                <a16:creationId xmlns:a16="http://schemas.microsoft.com/office/drawing/2014/main" id="{B39A3FE7-1EE3-E502-3BEE-B61DF3BE27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43" y="12682703"/>
            <a:ext cx="1598107" cy="539805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646089BF-6F3D-A74F-AFA1-703835C8A4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73224" y="493492"/>
            <a:ext cx="1210743" cy="426254"/>
          </a:xfrm>
          <a:prstGeom prst="rect">
            <a:avLst/>
          </a:prstGeom>
        </p:spPr>
      </p:pic>
      <p:sp>
        <p:nvSpPr>
          <p:cNvPr id="19" name="Retângulo Arredondado 23">
            <a:extLst>
              <a:ext uri="{FF2B5EF4-FFF2-40B4-BE49-F238E27FC236}">
                <a16:creationId xmlns:a16="http://schemas.microsoft.com/office/drawing/2014/main" id="{140684E3-1C55-591E-C8B5-7A92CB6EEB9B}"/>
              </a:ext>
            </a:extLst>
          </p:cNvPr>
          <p:cNvSpPr/>
          <p:nvPr/>
        </p:nvSpPr>
        <p:spPr>
          <a:xfrm rot="16200000">
            <a:off x="11750780" y="11482810"/>
            <a:ext cx="7390591" cy="8032151"/>
          </a:xfrm>
          <a:prstGeom prst="roundRect">
            <a:avLst/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Retângulo Arredondado 24">
            <a:extLst>
              <a:ext uri="{FF2B5EF4-FFF2-40B4-BE49-F238E27FC236}">
                <a16:creationId xmlns:a16="http://schemas.microsoft.com/office/drawing/2014/main" id="{2231533F-C37E-2B58-A5DA-4BE2E68EC554}"/>
              </a:ext>
            </a:extLst>
          </p:cNvPr>
          <p:cNvSpPr/>
          <p:nvPr/>
        </p:nvSpPr>
        <p:spPr>
          <a:xfrm rot="16200000">
            <a:off x="12416480" y="12517393"/>
            <a:ext cx="6059189" cy="5962985"/>
          </a:xfrm>
          <a:prstGeom prst="roundRect">
            <a:avLst>
              <a:gd name="adj" fmla="val 12993"/>
            </a:avLst>
          </a:prstGeom>
          <a:noFill/>
          <a:ln w="25400">
            <a:gradFill>
              <a:gsLst>
                <a:gs pos="47000">
                  <a:srgbClr val="30A6E6"/>
                </a:gs>
                <a:gs pos="53000">
                  <a:srgbClr val="7AE36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9279"/>
            <a:endParaRPr lang="pt-BR" sz="872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1995142" y="2281391"/>
            <a:ext cx="12188825" cy="895629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údo Programático:</a:t>
            </a:r>
            <a:b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pt-BR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rodução aos Primeiros Socorr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imentos de Primeiros Socorr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ergências Médicas Grave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adas Cardiorrespiratóri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l Súbito e Tontur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maio, Convulsões e Epilepsi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rimentos e Traum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rimento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morragi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raturas, Entorses e Imobilização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fogamento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oques Elétrico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ueimaduras e Lesões Térmica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ergências Respiratória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angramento Nasal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ação Alérgica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venenamento e Intoxicaçõe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gasg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ergências Envolvendo Animai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rdidas de Cachorro ou Gato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rdidas e Picadas de Inset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unicação de Emergência</a:t>
            </a:r>
          </a:p>
        </p:txBody>
      </p:sp>
    </p:spTree>
    <p:extLst>
      <p:ext uri="{BB962C8B-B14F-4D97-AF65-F5344CB8AC3E}">
        <p14:creationId xmlns:p14="http://schemas.microsoft.com/office/powerpoint/2010/main" val="1813538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/>
          <p:nvPr/>
        </p:nvSpPr>
        <p:spPr>
          <a:xfrm>
            <a:off x="10715802" y="452729"/>
            <a:ext cx="0" cy="13018518"/>
          </a:xfrm>
          <a:prstGeom prst="line">
            <a:avLst/>
          </a:prstGeom>
          <a:ln w="66675" cap="flat">
            <a:solidFill>
              <a:srgbClr val="22668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oup 8"/>
          <p:cNvGrpSpPr/>
          <p:nvPr/>
        </p:nvGrpSpPr>
        <p:grpSpPr>
          <a:xfrm>
            <a:off x="10515681" y="2980225"/>
            <a:ext cx="400242" cy="40024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0515681" y="6599269"/>
            <a:ext cx="400242" cy="400242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0515681" y="10218313"/>
            <a:ext cx="400242" cy="400242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7FC7D9"/>
            </a:solidFill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67716" tIns="67716" rIns="67716" bIns="67716" rtlCol="0" anchor="ctr"/>
            <a:lstStyle/>
            <a:p>
              <a:pPr algn="ctr">
                <a:lnSpc>
                  <a:spcPts val="4478"/>
                </a:lnSpc>
              </a:pPr>
              <a:endParaRPr sz="2399"/>
            </a:p>
          </p:txBody>
        </p:sp>
      </p:grpSp>
      <p:sp>
        <p:nvSpPr>
          <p:cNvPr id="25" name="Retângulo 24"/>
          <p:cNvSpPr/>
          <p:nvPr/>
        </p:nvSpPr>
        <p:spPr>
          <a:xfrm>
            <a:off x="10878401" y="2075181"/>
            <a:ext cx="12188825" cy="1092606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ritérios para aceitação do documento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 empresa (Razão social, CNPJ, endereço, ramo de atividade, grau de risco, número de trabalhadores (por sexo), horário de trabalho e turnos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os riscos, separados por função, setor ou grupo homogêneo de risco (GHE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Identificação das exigências físicas e psíquicas dos colaboradores (por função ou setor)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rogramação anual (por função, setor ou GHE) dos exames clínicos e complementares, de acordo com os risco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finição da periodicidade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Definição dos critérios de interpretação dos exames;     ​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Relatório analítico;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lano de ação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Precisa ter os dados da contratante, (unidade da prestação de serviço) para os contratos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contínuos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, para os </a:t>
            </a:r>
            <a:r>
              <a:rPr lang="pt-BR" sz="3200" b="1" dirty="0">
                <a:latin typeface="Verdana" panose="020B0604030504040204" pitchFamily="34" charset="0"/>
                <a:ea typeface="Verdana" panose="020B0604030504040204" pitchFamily="34" charset="0"/>
              </a:rPr>
              <a:t>eventuais</a:t>
            </a:r>
            <a:r>
              <a:rPr lang="pt-BR" sz="3200" dirty="0">
                <a:latin typeface="Verdana" panose="020B0604030504040204" pitchFamily="34" charset="0"/>
                <a:ea typeface="Verdana" panose="020B0604030504040204" pitchFamily="34" charset="0"/>
              </a:rPr>
              <a:t> seguir documento matriz do fornecedor.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007283D9-5D37-4E4B-1BDE-474178A1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613" t="2181" b="10590"/>
          <a:stretch/>
        </p:blipFill>
        <p:spPr>
          <a:xfrm>
            <a:off x="-659220" y="-58610"/>
            <a:ext cx="10426719" cy="13774610"/>
          </a:xfrm>
          <a:prstGeom prst="rect">
            <a:avLst/>
          </a:prstGeom>
        </p:spPr>
      </p:pic>
      <p:grpSp>
        <p:nvGrpSpPr>
          <p:cNvPr id="30" name="Agrupar 29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-1879199" y="7556395"/>
            <a:ext cx="6997195" cy="6453843"/>
            <a:chOff x="611617" y="1481762"/>
            <a:chExt cx="6583680" cy="4499147"/>
          </a:xfrm>
        </p:grpSpPr>
        <p:sp>
          <p:nvSpPr>
            <p:cNvPr id="31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2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683921FA-AB39-23DC-C704-1D9D05ECAE15}"/>
              </a:ext>
            </a:extLst>
          </p:cNvPr>
          <p:cNvGrpSpPr/>
          <p:nvPr/>
        </p:nvGrpSpPr>
        <p:grpSpPr>
          <a:xfrm rot="16200000">
            <a:off x="3041980" y="-4483205"/>
            <a:ext cx="6997195" cy="6453843"/>
            <a:chOff x="611617" y="1481762"/>
            <a:chExt cx="6583680" cy="4499147"/>
          </a:xfrm>
        </p:grpSpPr>
        <p:sp>
          <p:nvSpPr>
            <p:cNvPr id="34" name="Retângulo Arredondado 23">
              <a:extLst>
                <a:ext uri="{FF2B5EF4-FFF2-40B4-BE49-F238E27FC236}">
                  <a16:creationId xmlns:a16="http://schemas.microsoft.com/office/drawing/2014/main" id="{140684E3-1C55-591E-C8B5-7A92CB6EEB9B}"/>
                </a:ext>
              </a:extLst>
            </p:cNvPr>
            <p:cNvSpPr/>
            <p:nvPr/>
          </p:nvSpPr>
          <p:spPr>
            <a:xfrm>
              <a:off x="611617" y="1481762"/>
              <a:ext cx="6583680" cy="4499147"/>
            </a:xfrm>
            <a:prstGeom prst="roundRect">
              <a:avLst/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35" name="Retângulo Arredondado 24">
              <a:extLst>
                <a:ext uri="{FF2B5EF4-FFF2-40B4-BE49-F238E27FC236}">
                  <a16:creationId xmlns:a16="http://schemas.microsoft.com/office/drawing/2014/main" id="{2231533F-C37E-2B58-A5DA-4BE2E68EC554}"/>
                </a:ext>
              </a:extLst>
            </p:cNvPr>
            <p:cNvSpPr/>
            <p:nvPr/>
          </p:nvSpPr>
          <p:spPr>
            <a:xfrm>
              <a:off x="1204636" y="2061275"/>
              <a:ext cx="5397642" cy="3340120"/>
            </a:xfrm>
            <a:prstGeom prst="roundRect">
              <a:avLst>
                <a:gd name="adj" fmla="val 12993"/>
              </a:avLst>
            </a:prstGeom>
            <a:noFill/>
            <a:ln w="25400">
              <a:gradFill>
                <a:gsLst>
                  <a:gs pos="47000">
                    <a:srgbClr val="30A6E6"/>
                  </a:gs>
                  <a:gs pos="53000">
                    <a:srgbClr val="7AE36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99279"/>
              <a:endParaRPr lang="pt-BR" sz="872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692EA6A-330B-BA53-2A71-6F719EE8D517}"/>
              </a:ext>
            </a:extLst>
          </p:cNvPr>
          <p:cNvSpPr txBox="1"/>
          <p:nvPr/>
        </p:nvSpPr>
        <p:spPr>
          <a:xfrm>
            <a:off x="10878401" y="368534"/>
            <a:ext cx="14088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CMS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3083E757-455A-A731-E137-2CBE78D47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0650" y="1612048"/>
            <a:ext cx="2301735" cy="13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216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Custom 49">
      <a:dk1>
        <a:srgbClr val="043765"/>
      </a:dk1>
      <a:lt1>
        <a:srgbClr val="FFFFFF"/>
      </a:lt1>
      <a:dk2>
        <a:srgbClr val="FFFFFF"/>
      </a:dk2>
      <a:lt2>
        <a:srgbClr val="FFFFFF"/>
      </a:lt2>
      <a:accent1>
        <a:srgbClr val="043765"/>
      </a:accent1>
      <a:accent2>
        <a:srgbClr val="32A6E5"/>
      </a:accent2>
      <a:accent3>
        <a:srgbClr val="1D9F7F"/>
      </a:accent3>
      <a:accent4>
        <a:srgbClr val="F78344"/>
      </a:accent4>
      <a:accent5>
        <a:srgbClr val="BDCCD3"/>
      </a:accent5>
      <a:accent6>
        <a:srgbClr val="9F4BB9"/>
      </a:accent6>
      <a:hlink>
        <a:srgbClr val="043765"/>
      </a:hlink>
      <a:folHlink>
        <a:srgbClr val="BDCCD3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Default Theme" id="{36DA3193-E27E-FA4E-8F4B-A46548D5ED90}" vid="{6DB7C77F-71F4-924D-BC09-02026BF8B43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72F57982AD71E4BBDF8C0B4B42489D2" ma:contentTypeVersion="16" ma:contentTypeDescription="Crie um novo documento." ma:contentTypeScope="" ma:versionID="6c06fcb861e8cb2752854fba8746e6bc">
  <xsd:schema xmlns:xsd="http://www.w3.org/2001/XMLSchema" xmlns:xs="http://www.w3.org/2001/XMLSchema" xmlns:p="http://schemas.microsoft.com/office/2006/metadata/properties" xmlns:ns2="9b6fbe61-e3c2-484b-9ba4-b5e5efa8f9f0" xmlns:ns3="d0df50d3-186c-4522-ad55-f28590294df4" targetNamespace="http://schemas.microsoft.com/office/2006/metadata/properties" ma:root="true" ma:fieldsID="e1965245585848aeece505f6ef163ce0" ns2:_="" ns3:_="">
    <xsd:import namespace="9b6fbe61-e3c2-484b-9ba4-b5e5efa8f9f0"/>
    <xsd:import namespace="d0df50d3-186c-4522-ad55-f28590294d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6fbe61-e3c2-484b-9ba4-b5e5efa8f9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Marcações de imagem" ma:readOnly="false" ma:fieldId="{5cf76f15-5ced-4ddc-b409-7134ff3c332f}" ma:taxonomyMulti="true" ma:sspId="c4c7b921-c687-413c-ae19-3cd2bdf70da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df50d3-186c-4522-ad55-f28590294df4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b65d07c6-e0c4-485b-9768-fddd6946ca65}" ma:internalName="TaxCatchAll" ma:showField="CatchAllData" ma:web="d0df50d3-186c-4522-ad55-f28590294d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b6fbe61-e3c2-484b-9ba4-b5e5efa8f9f0">
      <Terms xmlns="http://schemas.microsoft.com/office/infopath/2007/PartnerControls"/>
    </lcf76f155ced4ddcb4097134ff3c332f>
    <TaxCatchAll xmlns="d0df50d3-186c-4522-ad55-f28590294df4" xsi:nil="true"/>
  </documentManagement>
</p:properties>
</file>

<file path=customXml/itemProps1.xml><?xml version="1.0" encoding="utf-8"?>
<ds:datastoreItem xmlns:ds="http://schemas.openxmlformats.org/officeDocument/2006/customXml" ds:itemID="{A34BA4F2-A673-4BDA-A7E2-C66279CBAE8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8124666-7678-4976-A594-438D181421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6fbe61-e3c2-484b-9ba4-b5e5efa8f9f0"/>
    <ds:schemaRef ds:uri="d0df50d3-186c-4522-ad55-f28590294d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590574E-8B50-43D1-98A0-3719A3C6DDFB}">
  <ds:schemaRefs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84d63d42-3434-43a0-9293-8681179c27b7"/>
    <ds:schemaRef ds:uri="http://purl.org/dc/elements/1.1/"/>
    <ds:schemaRef ds:uri="http://www.w3.org/XML/1998/namespace"/>
    <ds:schemaRef ds:uri="http://purl.org/dc/terms/"/>
    <ds:schemaRef ds:uri="bc53cf89-788f-463e-9cfd-c23b96d9ba5c"/>
    <ds:schemaRef ds:uri="http://schemas.openxmlformats.org/package/2006/metadata/core-properties"/>
    <ds:schemaRef ds:uri="http://purl.org/dc/dcmitype/"/>
    <ds:schemaRef ds:uri="9b6fbe61-e3c2-484b-9ba4-b5e5efa8f9f0"/>
    <ds:schemaRef ds:uri="d0df50d3-186c-4522-ad55-f28590294df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28</TotalTime>
  <Words>13414</Words>
  <Application>Microsoft Office PowerPoint</Application>
  <PresentationFormat>Personalizar</PresentationFormat>
  <Paragraphs>1243</Paragraphs>
  <Slides>89</Slides>
  <Notes>45</Notes>
  <HiddenSlides>0</HiddenSlides>
  <MMClips>0</MMClips>
  <ScaleCrop>false</ScaleCrop>
  <HeadingPairs>
    <vt:vector size="8" baseType="variant">
      <vt:variant>
        <vt:lpstr>Fontes usadas</vt:lpstr>
      </vt:variant>
      <vt:variant>
        <vt:i4>14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9</vt:i4>
      </vt:variant>
    </vt:vector>
  </HeadingPairs>
  <TitlesOfParts>
    <vt:vector size="106" baseType="lpstr">
      <vt:lpstr>Aptos</vt:lpstr>
      <vt:lpstr>Arial</vt:lpstr>
      <vt:lpstr>Calibri</vt:lpstr>
      <vt:lpstr>Calibri Light</vt:lpstr>
      <vt:lpstr>Century Gothic</vt:lpstr>
      <vt:lpstr>Courier New</vt:lpstr>
      <vt:lpstr>Encode Sans</vt:lpstr>
      <vt:lpstr>HK Grotesk</vt:lpstr>
      <vt:lpstr>HK Grotesk Bold</vt:lpstr>
      <vt:lpstr>Montserrat</vt:lpstr>
      <vt:lpstr>Open Sans</vt:lpstr>
      <vt:lpstr>Segoe UI</vt:lpstr>
      <vt:lpstr>Verdana</vt:lpstr>
      <vt:lpstr>Wingdings</vt:lpstr>
      <vt:lpstr>Tema do Office</vt:lpstr>
      <vt:lpstr>Default Theme</vt:lpstr>
      <vt:lpstr>think-cell Slide</vt:lpstr>
      <vt:lpstr>Manual de Validação dos documentos de Saúde e Segurança do Trabalh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s</dc:title>
  <dc:subject>Templates</dc:subject>
  <dc:creator>Isabella Moncada</dc:creator>
  <cp:keywords/>
  <dc:description/>
  <cp:lastModifiedBy>NASHILA RAMOS MARTINS</cp:lastModifiedBy>
  <cp:revision>307</cp:revision>
  <cp:lastPrinted>2019-09-18T23:04:43Z</cp:lastPrinted>
  <dcterms:created xsi:type="dcterms:W3CDTF">2014-11-12T21:47:38Z</dcterms:created>
  <dcterms:modified xsi:type="dcterms:W3CDTF">2026-02-26T20:14:1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2F57982AD71E4BBDF8C0B4B42489D2</vt:lpwstr>
  </property>
  <property fmtid="{D5CDD505-2E9C-101B-9397-08002B2CF9AE}" pid="3" name="MediaServiceImageTags">
    <vt:lpwstr/>
  </property>
</Properties>
</file>